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notesMasterIdLst>
    <p:notesMasterId r:id="rId35"/>
  </p:notesMasterIdLst>
  <p:handoutMasterIdLst>
    <p:handoutMasterId r:id="rId36"/>
  </p:handoutMasterIdLst>
  <p:sldIdLst>
    <p:sldId id="256" r:id="rId2"/>
    <p:sldId id="303" r:id="rId3"/>
    <p:sldId id="286" r:id="rId4"/>
    <p:sldId id="298" r:id="rId5"/>
    <p:sldId id="304" r:id="rId6"/>
    <p:sldId id="306" r:id="rId7"/>
    <p:sldId id="307" r:id="rId8"/>
    <p:sldId id="308" r:id="rId9"/>
    <p:sldId id="309" r:id="rId10"/>
    <p:sldId id="310" r:id="rId11"/>
    <p:sldId id="311" r:id="rId12"/>
    <p:sldId id="312" r:id="rId13"/>
    <p:sldId id="313" r:id="rId14"/>
    <p:sldId id="314" r:id="rId15"/>
    <p:sldId id="318" r:id="rId16"/>
    <p:sldId id="316" r:id="rId17"/>
    <p:sldId id="317" r:id="rId18"/>
    <p:sldId id="320" r:id="rId19"/>
    <p:sldId id="321" r:id="rId20"/>
    <p:sldId id="326" r:id="rId21"/>
    <p:sldId id="305" r:id="rId22"/>
    <p:sldId id="299" r:id="rId23"/>
    <p:sldId id="301" r:id="rId24"/>
    <p:sldId id="315" r:id="rId25"/>
    <p:sldId id="322" r:id="rId26"/>
    <p:sldId id="323" r:id="rId27"/>
    <p:sldId id="325" r:id="rId28"/>
    <p:sldId id="327" r:id="rId29"/>
    <p:sldId id="324" r:id="rId30"/>
    <p:sldId id="283" r:id="rId31"/>
    <p:sldId id="287" r:id="rId32"/>
    <p:sldId id="285" r:id="rId33"/>
    <p:sldId id="284" r:id="rId34"/>
  </p:sldIdLst>
  <p:sldSz cx="12192000" cy="6858000"/>
  <p:notesSz cx="6858000" cy="9144000"/>
  <p:custDataLst>
    <p:tags r:id="rId3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4290F808-194C-471F-9E68-7B40DCE7A650}">
          <p14:sldIdLst>
            <p14:sldId id="256"/>
            <p14:sldId id="303"/>
            <p14:sldId id="286"/>
          </p14:sldIdLst>
        </p14:section>
        <p14:section name="Talk 1" id="{A39BAB87-122F-4407-B1D1-4EBF3756855C}">
          <p14:sldIdLst>
            <p14:sldId id="298"/>
            <p14:sldId id="304"/>
            <p14:sldId id="306"/>
            <p14:sldId id="307"/>
            <p14:sldId id="308"/>
            <p14:sldId id="309"/>
            <p14:sldId id="310"/>
            <p14:sldId id="311"/>
            <p14:sldId id="312"/>
            <p14:sldId id="313"/>
            <p14:sldId id="314"/>
            <p14:sldId id="318"/>
            <p14:sldId id="316"/>
            <p14:sldId id="317"/>
            <p14:sldId id="320"/>
            <p14:sldId id="321"/>
            <p14:sldId id="326"/>
            <p14:sldId id="305"/>
          </p14:sldIdLst>
        </p14:section>
        <p14:section name="Talk 2" id="{2167965B-9CDA-481C-93BD-B76642157988}">
          <p14:sldIdLst>
            <p14:sldId id="299"/>
            <p14:sldId id="301"/>
            <p14:sldId id="315"/>
            <p14:sldId id="322"/>
            <p14:sldId id="323"/>
            <p14:sldId id="325"/>
            <p14:sldId id="327"/>
            <p14:sldId id="324"/>
          </p14:sldIdLst>
        </p14:section>
        <p14:section name="Diskussion" id="{96D93A17-E8EF-40A5-A513-9D3407D7C689}">
          <p14:sldIdLst>
            <p14:sldId id="283"/>
          </p14:sldIdLst>
        </p14:section>
        <p14:section name="User Group" id="{7CCB5C54-E3C4-4115-B207-B037FB65D407}">
          <p14:sldIdLst>
            <p14:sldId id="287"/>
            <p14:sldId id="285"/>
            <p14:sldId id="28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A5DD"/>
    <a:srgbClr val="30303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7CFEF31-F78D-4AB2-82EA-48FEA1DAF329}" v="122" dt="2022-11-04T10:44:04.919"/>
  </p1510:revLst>
</p1510:revInfo>
</file>

<file path=ppt/tableStyles.xml><?xml version="1.0" encoding="utf-8"?>
<a:tblStyleLst xmlns:a="http://schemas.openxmlformats.org/drawingml/2006/main" def="{5C22544A-7EE6-4342-B048-85BDC9FD1C3A}">
  <a:tblStyle styleId="{8FD4443E-F989-4FC4-A0C8-D5A2AF1F390B}" styleName="Dunkle Formatvorlage 1 - Akz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28" autoAdjust="0"/>
    <p:restoredTop sz="81778" autoAdjust="0"/>
  </p:normalViewPr>
  <p:slideViewPr>
    <p:cSldViewPr snapToGrid="0">
      <p:cViewPr varScale="1">
        <p:scale>
          <a:sx n="73" d="100"/>
          <a:sy n="73" d="100"/>
        </p:scale>
        <p:origin x="496" y="4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104" d="100"/>
          <a:sy n="104" d="100"/>
        </p:scale>
        <p:origin x="348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microsoft.com/office/2016/11/relationships/changesInfo" Target="changesInfos/changesInfo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Relationship Id="rId43" Type="http://schemas.microsoft.com/office/2015/10/relationships/revisionInfo" Target="revisionInfo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omas Stensitzki" userId="75cafe6b-2f2a-469b-85c4-eec3b9c972ba" providerId="ADAL" clId="{BAD737A7-2F8E-4B82-9225-C1B9CBC54DB5}"/>
    <pc:docChg chg="undo custSel addSld delSld modSld delMainMaster modMainMaster addSection modSection">
      <pc:chgData name="Thomas Stensitzki" userId="75cafe6b-2f2a-469b-85c4-eec3b9c972ba" providerId="ADAL" clId="{BAD737A7-2F8E-4B82-9225-C1B9CBC54DB5}" dt="2020-11-19T07:17:12.133" v="1340" actId="27636"/>
      <pc:docMkLst>
        <pc:docMk/>
      </pc:docMkLst>
      <pc:sldChg chg="modSp mod modTransition modNotes">
        <pc:chgData name="Thomas Stensitzki" userId="75cafe6b-2f2a-469b-85c4-eec3b9c972ba" providerId="ADAL" clId="{BAD737A7-2F8E-4B82-9225-C1B9CBC54DB5}" dt="2020-11-15T10:55:21.900" v="807" actId="6549"/>
        <pc:sldMkLst>
          <pc:docMk/>
          <pc:sldMk cId="353304963" sldId="256"/>
        </pc:sldMkLst>
        <pc:spChg chg="mod">
          <ac:chgData name="Thomas Stensitzki" userId="75cafe6b-2f2a-469b-85c4-eec3b9c972ba" providerId="ADAL" clId="{BAD737A7-2F8E-4B82-9225-C1B9CBC54DB5}" dt="2020-11-15T10:55:21.900" v="807" actId="6549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48:46.053" v="435" actId="790"/>
          <ac:spMkLst>
            <pc:docMk/>
            <pc:sldMk cId="353304963" sldId="256"/>
            <ac:spMk id="3" creationId="{00000000-0000-0000-0000-000000000000}"/>
          </ac:spMkLst>
        </pc:spChg>
      </pc:sldChg>
      <pc:sldChg chg="addSp delSp modSp mod modTransition modNotes">
        <pc:chgData name="Thomas Stensitzki" userId="75cafe6b-2f2a-469b-85c4-eec3b9c972ba" providerId="ADAL" clId="{BAD737A7-2F8E-4B82-9225-C1B9CBC54DB5}" dt="2020-11-15T11:15:57.801" v="1338" actId="1076"/>
        <pc:sldMkLst>
          <pc:docMk/>
          <pc:sldMk cId="3986585176" sldId="258"/>
        </pc:sldMkLst>
        <pc:spChg chg="mod">
          <ac:chgData name="Thomas Stensitzki" userId="75cafe6b-2f2a-469b-85c4-eec3b9c972ba" providerId="ADAL" clId="{BAD737A7-2F8E-4B82-9225-C1B9CBC54DB5}" dt="2020-11-15T10:48:46.067" v="442" actId="790"/>
          <ac:spMkLst>
            <pc:docMk/>
            <pc:sldMk cId="3986585176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48:46.071" v="443" actId="790"/>
          <ac:spMkLst>
            <pc:docMk/>
            <pc:sldMk cId="3986585176" sldId="258"/>
            <ac:spMk id="3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48:46.073" v="444" actId="790"/>
          <ac:spMkLst>
            <pc:docMk/>
            <pc:sldMk cId="3986585176" sldId="258"/>
            <ac:spMk id="4" creationId="{00000000-0000-0000-0000-000000000000}"/>
          </ac:spMkLst>
        </pc:spChg>
        <pc:picChg chg="add mod">
          <ac:chgData name="Thomas Stensitzki" userId="75cafe6b-2f2a-469b-85c4-eec3b9c972ba" providerId="ADAL" clId="{BAD737A7-2F8E-4B82-9225-C1B9CBC54DB5}" dt="2020-11-15T11:15:12.914" v="1332" actId="1076"/>
          <ac:picMkLst>
            <pc:docMk/>
            <pc:sldMk cId="3986585176" sldId="258"/>
            <ac:picMk id="5" creationId="{D7A85379-0537-405A-8F96-DB1B8BC3EE21}"/>
          </ac:picMkLst>
        </pc:picChg>
        <pc:picChg chg="mod">
          <ac:chgData name="Thomas Stensitzki" userId="75cafe6b-2f2a-469b-85c4-eec3b9c972ba" providerId="ADAL" clId="{BAD737A7-2F8E-4B82-9225-C1B9CBC54DB5}" dt="2020-11-15T11:15:57.801" v="1338" actId="1076"/>
          <ac:picMkLst>
            <pc:docMk/>
            <pc:sldMk cId="3986585176" sldId="258"/>
            <ac:picMk id="6" creationId="{21248847-3FF0-4409-9A8D-174E1A14773C}"/>
          </ac:picMkLst>
        </pc:picChg>
        <pc:picChg chg="mod ord">
          <ac:chgData name="Thomas Stensitzki" userId="75cafe6b-2f2a-469b-85c4-eec3b9c972ba" providerId="ADAL" clId="{BAD737A7-2F8E-4B82-9225-C1B9CBC54DB5}" dt="2020-11-15T11:15:36.336" v="1337" actId="1076"/>
          <ac:picMkLst>
            <pc:docMk/>
            <pc:sldMk cId="3986585176" sldId="258"/>
            <ac:picMk id="7" creationId="{88F97777-565E-4AA3-9103-8EB7EB31F749}"/>
          </ac:picMkLst>
        </pc:picChg>
        <pc:picChg chg="del">
          <ac:chgData name="Thomas Stensitzki" userId="75cafe6b-2f2a-469b-85c4-eec3b9c972ba" providerId="ADAL" clId="{BAD737A7-2F8E-4B82-9225-C1B9CBC54DB5}" dt="2020-11-15T10:32:31.503" v="101" actId="478"/>
          <ac:picMkLst>
            <pc:docMk/>
            <pc:sldMk cId="3986585176" sldId="258"/>
            <ac:picMk id="8" creationId="{5631CE2B-83FC-462E-8E5E-3D43927CE85F}"/>
          </ac:picMkLst>
        </pc:picChg>
      </pc:sldChg>
      <pc:sldChg chg="modSp mod modTransition modNotes">
        <pc:chgData name="Thomas Stensitzki" userId="75cafe6b-2f2a-469b-85c4-eec3b9c972ba" providerId="ADAL" clId="{BAD737A7-2F8E-4B82-9225-C1B9CBC54DB5}" dt="2020-11-15T10:55:16.003" v="806"/>
        <pc:sldMkLst>
          <pc:docMk/>
          <pc:sldMk cId="577492687" sldId="259"/>
        </pc:sldMkLst>
        <pc:spChg chg="mod">
          <ac:chgData name="Thomas Stensitzki" userId="75cafe6b-2f2a-469b-85c4-eec3b9c972ba" providerId="ADAL" clId="{BAD737A7-2F8E-4B82-9225-C1B9CBC54DB5}" dt="2020-11-15T10:48:46.059" v="438" actId="790"/>
          <ac:spMkLst>
            <pc:docMk/>
            <pc:sldMk cId="577492687" sldId="259"/>
            <ac:spMk id="5" creationId="{8DFF3C50-4326-4090-9563-39166FAE160D}"/>
          </ac:spMkLst>
        </pc:spChg>
        <pc:spChg chg="mod">
          <ac:chgData name="Thomas Stensitzki" userId="75cafe6b-2f2a-469b-85c4-eec3b9c972ba" providerId="ADAL" clId="{BAD737A7-2F8E-4B82-9225-C1B9CBC54DB5}" dt="2020-11-15T10:48:46.062" v="439" actId="790"/>
          <ac:spMkLst>
            <pc:docMk/>
            <pc:sldMk cId="577492687" sldId="259"/>
            <ac:spMk id="6" creationId="{9D5FCE5E-BE6E-4AAA-BFE2-CADDE02D473C}"/>
          </ac:spMkLst>
        </pc:spChg>
      </pc:sldChg>
      <pc:sldChg chg="delSp modSp mod modTransition modAnim modNotes">
        <pc:chgData name="Thomas Stensitzki" userId="75cafe6b-2f2a-469b-85c4-eec3b9c972ba" providerId="ADAL" clId="{BAD737A7-2F8E-4B82-9225-C1B9CBC54DB5}" dt="2020-11-15T10:55:16.003" v="806"/>
        <pc:sldMkLst>
          <pc:docMk/>
          <pc:sldMk cId="2855165129" sldId="277"/>
        </pc:sldMkLst>
        <pc:spChg chg="mod">
          <ac:chgData name="Thomas Stensitzki" userId="75cafe6b-2f2a-469b-85c4-eec3b9c972ba" providerId="ADAL" clId="{BAD737A7-2F8E-4B82-9225-C1B9CBC54DB5}" dt="2020-11-15T10:48:46.188" v="499" actId="790"/>
          <ac:spMkLst>
            <pc:docMk/>
            <pc:sldMk cId="2855165129" sldId="277"/>
            <ac:spMk id="2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48:46.190" v="500" actId="790"/>
          <ac:spMkLst>
            <pc:docMk/>
            <pc:sldMk cId="2855165129" sldId="277"/>
            <ac:spMk id="4" creationId="{00000000-0000-0000-0000-000000000000}"/>
          </ac:spMkLst>
        </pc:spChg>
        <pc:spChg chg="del mod">
          <ac:chgData name="Thomas Stensitzki" userId="75cafe6b-2f2a-469b-85c4-eec3b9c972ba" providerId="ADAL" clId="{BAD737A7-2F8E-4B82-9225-C1B9CBC54DB5}" dt="2020-11-15T10:46:40.984" v="403" actId="478"/>
          <ac:spMkLst>
            <pc:docMk/>
            <pc:sldMk cId="2855165129" sldId="277"/>
            <ac:spMk id="10" creationId="{35918AA5-6F07-4B44-B394-41A89C1E1B39}"/>
          </ac:spMkLst>
        </pc:spChg>
        <pc:grpChg chg="del mod">
          <ac:chgData name="Thomas Stensitzki" userId="75cafe6b-2f2a-469b-85c4-eec3b9c972ba" providerId="ADAL" clId="{BAD737A7-2F8E-4B82-9225-C1B9CBC54DB5}" dt="2020-11-15T10:34:05.189" v="109" actId="478"/>
          <ac:grpSpMkLst>
            <pc:docMk/>
            <pc:sldMk cId="2855165129" sldId="277"/>
            <ac:grpSpMk id="9" creationId="{724C2ABE-F85C-439F-8D9E-9AFFED56578F}"/>
          </ac:grpSpMkLst>
        </pc:grpChg>
        <pc:picChg chg="del">
          <ac:chgData name="Thomas Stensitzki" userId="75cafe6b-2f2a-469b-85c4-eec3b9c972ba" providerId="ADAL" clId="{BAD737A7-2F8E-4B82-9225-C1B9CBC54DB5}" dt="2020-11-15T10:34:05.189" v="109" actId="478"/>
          <ac:picMkLst>
            <pc:docMk/>
            <pc:sldMk cId="2855165129" sldId="277"/>
            <ac:picMk id="12" creationId="{7034294F-F28B-41F4-8FA0-95CFC26A0139}"/>
          </ac:picMkLst>
        </pc:picChg>
      </pc:sldChg>
      <pc:sldChg chg="modSp new mod modTransition modAnim modNotes">
        <pc:chgData name="Thomas Stensitzki" userId="75cafe6b-2f2a-469b-85c4-eec3b9c972ba" providerId="ADAL" clId="{BAD737A7-2F8E-4B82-9225-C1B9CBC54DB5}" dt="2020-11-19T07:17:12.133" v="1340" actId="27636"/>
        <pc:sldMkLst>
          <pc:docMk/>
          <pc:sldMk cId="97044835" sldId="278"/>
        </pc:sldMkLst>
        <pc:spChg chg="mod">
          <ac:chgData name="Thomas Stensitzki" userId="75cafe6b-2f2a-469b-85c4-eec3b9c972ba" providerId="ADAL" clId="{BAD737A7-2F8E-4B82-9225-C1B9CBC54DB5}" dt="2020-11-15T10:48:46.078" v="447" actId="790"/>
          <ac:spMkLst>
            <pc:docMk/>
            <pc:sldMk cId="97044835" sldId="278"/>
            <ac:spMk id="2" creationId="{EA4DD573-83D2-4CDD-AE0E-482C0B9EAFCC}"/>
          </ac:spMkLst>
        </pc:spChg>
        <pc:spChg chg="mod">
          <ac:chgData name="Thomas Stensitzki" userId="75cafe6b-2f2a-469b-85c4-eec3b9c972ba" providerId="ADAL" clId="{BAD737A7-2F8E-4B82-9225-C1B9CBC54DB5}" dt="2020-11-19T07:17:12.133" v="1340" actId="27636"/>
          <ac:spMkLst>
            <pc:docMk/>
            <pc:sldMk cId="97044835" sldId="278"/>
            <ac:spMk id="3" creationId="{AE9AF230-7CEC-46E9-BF39-BEE4E4E1E3EF}"/>
          </ac:spMkLst>
        </pc:spChg>
        <pc:spChg chg="mod">
          <ac:chgData name="Thomas Stensitzki" userId="75cafe6b-2f2a-469b-85c4-eec3b9c972ba" providerId="ADAL" clId="{BAD737A7-2F8E-4B82-9225-C1B9CBC54DB5}" dt="2020-11-15T10:48:46.095" v="449" actId="790"/>
          <ac:spMkLst>
            <pc:docMk/>
            <pc:sldMk cId="97044835" sldId="278"/>
            <ac:spMk id="4" creationId="{0E84984D-A07F-4DBB-A0CC-E264F0B6CF53}"/>
          </ac:spMkLst>
        </pc:spChg>
      </pc:sldChg>
      <pc:sldChg chg="modSp add mod modTransition modAnim modNotes">
        <pc:chgData name="Thomas Stensitzki" userId="75cafe6b-2f2a-469b-85c4-eec3b9c972ba" providerId="ADAL" clId="{BAD737A7-2F8E-4B82-9225-C1B9CBC54DB5}" dt="2020-11-15T11:14:34.400" v="1325"/>
        <pc:sldMkLst>
          <pc:docMk/>
          <pc:sldMk cId="568040766" sldId="279"/>
        </pc:sldMkLst>
        <pc:spChg chg="mod">
          <ac:chgData name="Thomas Stensitzki" userId="75cafe6b-2f2a-469b-85c4-eec3b9c972ba" providerId="ADAL" clId="{BAD737A7-2F8E-4B82-9225-C1B9CBC54DB5}" dt="2020-11-15T10:48:46.102" v="452"/>
          <ac:spMkLst>
            <pc:docMk/>
            <pc:sldMk cId="568040766" sldId="279"/>
            <ac:spMk id="2" creationId="{EA4DD573-83D2-4CDD-AE0E-482C0B9EAFCC}"/>
          </ac:spMkLst>
        </pc:spChg>
        <pc:spChg chg="mod">
          <ac:chgData name="Thomas Stensitzki" userId="75cafe6b-2f2a-469b-85c4-eec3b9c972ba" providerId="ADAL" clId="{BAD737A7-2F8E-4B82-9225-C1B9CBC54DB5}" dt="2020-11-15T10:48:46.105" v="453"/>
          <ac:spMkLst>
            <pc:docMk/>
            <pc:sldMk cId="568040766" sldId="279"/>
            <ac:spMk id="3" creationId="{AE9AF230-7CEC-46E9-BF39-BEE4E4E1E3EF}"/>
          </ac:spMkLst>
        </pc:spChg>
        <pc:spChg chg="mod">
          <ac:chgData name="Thomas Stensitzki" userId="75cafe6b-2f2a-469b-85c4-eec3b9c972ba" providerId="ADAL" clId="{BAD737A7-2F8E-4B82-9225-C1B9CBC54DB5}" dt="2020-11-15T10:48:46.106" v="454"/>
          <ac:spMkLst>
            <pc:docMk/>
            <pc:sldMk cId="568040766" sldId="279"/>
            <ac:spMk id="4" creationId="{0E84984D-A07F-4DBB-A0CC-E264F0B6CF53}"/>
          </ac:spMkLst>
        </pc:spChg>
      </pc:sldChg>
      <pc:sldChg chg="new del">
        <pc:chgData name="Thomas Stensitzki" userId="75cafe6b-2f2a-469b-85c4-eec3b9c972ba" providerId="ADAL" clId="{BAD737A7-2F8E-4B82-9225-C1B9CBC54DB5}" dt="2020-11-15T10:36:04.658" v="157" actId="47"/>
        <pc:sldMkLst>
          <pc:docMk/>
          <pc:sldMk cId="2366374122" sldId="279"/>
        </pc:sldMkLst>
      </pc:sldChg>
      <pc:sldChg chg="addSp delSp modSp new mod modTransition modClrScheme modAnim chgLayout modNotes">
        <pc:chgData name="Thomas Stensitzki" userId="75cafe6b-2f2a-469b-85c4-eec3b9c972ba" providerId="ADAL" clId="{BAD737A7-2F8E-4B82-9225-C1B9CBC54DB5}" dt="2020-11-15T10:55:16.003" v="806"/>
        <pc:sldMkLst>
          <pc:docMk/>
          <pc:sldMk cId="2488069756" sldId="280"/>
        </pc:sldMkLst>
        <pc:spChg chg="del">
          <ac:chgData name="Thomas Stensitzki" userId="75cafe6b-2f2a-469b-85c4-eec3b9c972ba" providerId="ADAL" clId="{BAD737A7-2F8E-4B82-9225-C1B9CBC54DB5}" dt="2020-11-15T10:36:54.909" v="191" actId="6264"/>
          <ac:spMkLst>
            <pc:docMk/>
            <pc:sldMk cId="2488069756" sldId="280"/>
            <ac:spMk id="2" creationId="{99F11708-2EC6-4580-80F9-886A8538B3F8}"/>
          </ac:spMkLst>
        </pc:spChg>
        <pc:spChg chg="del">
          <ac:chgData name="Thomas Stensitzki" userId="75cafe6b-2f2a-469b-85c4-eec3b9c972ba" providerId="ADAL" clId="{BAD737A7-2F8E-4B82-9225-C1B9CBC54DB5}" dt="2020-11-15T10:36:54.909" v="191" actId="6264"/>
          <ac:spMkLst>
            <pc:docMk/>
            <pc:sldMk cId="2488069756" sldId="280"/>
            <ac:spMk id="3" creationId="{37737664-073C-440F-A40B-8AF0831DAA54}"/>
          </ac:spMkLst>
        </pc:spChg>
        <pc:spChg chg="del">
          <ac:chgData name="Thomas Stensitzki" userId="75cafe6b-2f2a-469b-85c4-eec3b9c972ba" providerId="ADAL" clId="{BAD737A7-2F8E-4B82-9225-C1B9CBC54DB5}" dt="2020-11-15T10:36:54.909" v="191" actId="6264"/>
          <ac:spMkLst>
            <pc:docMk/>
            <pc:sldMk cId="2488069756" sldId="280"/>
            <ac:spMk id="4" creationId="{73759424-C8CF-46E8-AFA3-2FFF72945B8C}"/>
          </ac:spMkLst>
        </pc:spChg>
        <pc:spChg chg="add del mod ord">
          <ac:chgData name="Thomas Stensitzki" userId="75cafe6b-2f2a-469b-85c4-eec3b9c972ba" providerId="ADAL" clId="{BAD737A7-2F8E-4B82-9225-C1B9CBC54DB5}" dt="2020-11-15T10:36:58.200" v="193" actId="700"/>
          <ac:spMkLst>
            <pc:docMk/>
            <pc:sldMk cId="2488069756" sldId="280"/>
            <ac:spMk id="5" creationId="{B71F42A6-27A4-4080-BEB7-0DB56156FE6E}"/>
          </ac:spMkLst>
        </pc:spChg>
        <pc:spChg chg="add del mod ord">
          <ac:chgData name="Thomas Stensitzki" userId="75cafe6b-2f2a-469b-85c4-eec3b9c972ba" providerId="ADAL" clId="{BAD737A7-2F8E-4B82-9225-C1B9CBC54DB5}" dt="2020-11-15T10:36:58.200" v="193" actId="700"/>
          <ac:spMkLst>
            <pc:docMk/>
            <pc:sldMk cId="2488069756" sldId="280"/>
            <ac:spMk id="6" creationId="{8B03AC45-6A72-4613-90B4-DB4152D0576D}"/>
          </ac:spMkLst>
        </pc:spChg>
        <pc:spChg chg="add del mod ord">
          <ac:chgData name="Thomas Stensitzki" userId="75cafe6b-2f2a-469b-85c4-eec3b9c972ba" providerId="ADAL" clId="{BAD737A7-2F8E-4B82-9225-C1B9CBC54DB5}" dt="2020-11-15T10:36:58.200" v="193" actId="700"/>
          <ac:spMkLst>
            <pc:docMk/>
            <pc:sldMk cId="2488069756" sldId="280"/>
            <ac:spMk id="7" creationId="{1E9CA3BE-DEC1-4FB1-B299-083E69D4D5CC}"/>
          </ac:spMkLst>
        </pc:spChg>
        <pc:spChg chg="add mod ord">
          <ac:chgData name="Thomas Stensitzki" userId="75cafe6b-2f2a-469b-85c4-eec3b9c972ba" providerId="ADAL" clId="{BAD737A7-2F8E-4B82-9225-C1B9CBC54DB5}" dt="2020-11-15T10:48:46.112" v="457"/>
          <ac:spMkLst>
            <pc:docMk/>
            <pc:sldMk cId="2488069756" sldId="280"/>
            <ac:spMk id="8" creationId="{78608ADD-A532-4031-9003-D0D12F313D82}"/>
          </ac:spMkLst>
        </pc:spChg>
        <pc:spChg chg="add mod">
          <ac:chgData name="Thomas Stensitzki" userId="75cafe6b-2f2a-469b-85c4-eec3b9c972ba" providerId="ADAL" clId="{BAD737A7-2F8E-4B82-9225-C1B9CBC54DB5}" dt="2020-11-15T10:48:46.113" v="458"/>
          <ac:spMkLst>
            <pc:docMk/>
            <pc:sldMk cId="2488069756" sldId="280"/>
            <ac:spMk id="15" creationId="{507B6AE8-E40A-450E-ACA7-352D96377379}"/>
          </ac:spMkLst>
        </pc:spChg>
        <pc:spChg chg="add mod">
          <ac:chgData name="Thomas Stensitzki" userId="75cafe6b-2f2a-469b-85c4-eec3b9c972ba" providerId="ADAL" clId="{BAD737A7-2F8E-4B82-9225-C1B9CBC54DB5}" dt="2020-11-15T10:48:46.113" v="459"/>
          <ac:spMkLst>
            <pc:docMk/>
            <pc:sldMk cId="2488069756" sldId="280"/>
            <ac:spMk id="16" creationId="{C117C26A-775F-4077-B72E-4D50A1EEBCE3}"/>
          </ac:spMkLst>
        </pc:spChg>
        <pc:spChg chg="add mod">
          <ac:chgData name="Thomas Stensitzki" userId="75cafe6b-2f2a-469b-85c4-eec3b9c972ba" providerId="ADAL" clId="{BAD737A7-2F8E-4B82-9225-C1B9CBC54DB5}" dt="2020-11-15T10:48:46.114" v="460"/>
          <ac:spMkLst>
            <pc:docMk/>
            <pc:sldMk cId="2488069756" sldId="280"/>
            <ac:spMk id="17" creationId="{76FE4AEE-A95C-45CA-A490-6035AA0685EE}"/>
          </ac:spMkLst>
        </pc:spChg>
        <pc:spChg chg="add mod">
          <ac:chgData name="Thomas Stensitzki" userId="75cafe6b-2f2a-469b-85c4-eec3b9c972ba" providerId="ADAL" clId="{BAD737A7-2F8E-4B82-9225-C1B9CBC54DB5}" dt="2020-11-15T10:48:46.115" v="461"/>
          <ac:spMkLst>
            <pc:docMk/>
            <pc:sldMk cId="2488069756" sldId="280"/>
            <ac:spMk id="18" creationId="{C7A11D31-A9E4-4B97-A8E4-CC2FF65D7FDC}"/>
          </ac:spMkLst>
        </pc:spChg>
        <pc:spChg chg="add mod">
          <ac:chgData name="Thomas Stensitzki" userId="75cafe6b-2f2a-469b-85c4-eec3b9c972ba" providerId="ADAL" clId="{BAD737A7-2F8E-4B82-9225-C1B9CBC54DB5}" dt="2020-11-15T10:48:46.116" v="462"/>
          <ac:spMkLst>
            <pc:docMk/>
            <pc:sldMk cId="2488069756" sldId="280"/>
            <ac:spMk id="19" creationId="{6EC33BBB-5A1C-4885-8FA4-0F3256420B85}"/>
          </ac:spMkLst>
        </pc:spChg>
        <pc:spChg chg="add mod">
          <ac:chgData name="Thomas Stensitzki" userId="75cafe6b-2f2a-469b-85c4-eec3b9c972ba" providerId="ADAL" clId="{BAD737A7-2F8E-4B82-9225-C1B9CBC54DB5}" dt="2020-11-15T10:48:46.116" v="463"/>
          <ac:spMkLst>
            <pc:docMk/>
            <pc:sldMk cId="2488069756" sldId="280"/>
            <ac:spMk id="20" creationId="{F69ABC88-683D-4BEF-B736-6B4BC5D9B07A}"/>
          </ac:spMkLst>
        </pc:spChg>
        <pc:spChg chg="mod">
          <ac:chgData name="Thomas Stensitzki" userId="75cafe6b-2f2a-469b-85c4-eec3b9c972ba" providerId="ADAL" clId="{BAD737A7-2F8E-4B82-9225-C1B9CBC54DB5}" dt="2020-11-15T10:48:46.119" v="464" actId="790"/>
          <ac:spMkLst>
            <pc:docMk/>
            <pc:sldMk cId="2488069756" sldId="280"/>
            <ac:spMk id="23" creationId="{3AFC7732-1E5C-44DA-BB35-D3CB036301DB}"/>
          </ac:spMkLst>
        </pc:spChg>
        <pc:spChg chg="mod">
          <ac:chgData name="Thomas Stensitzki" userId="75cafe6b-2f2a-469b-85c4-eec3b9c972ba" providerId="ADAL" clId="{BAD737A7-2F8E-4B82-9225-C1B9CBC54DB5}" dt="2020-11-15T10:48:46.121" v="465" actId="790"/>
          <ac:spMkLst>
            <pc:docMk/>
            <pc:sldMk cId="2488069756" sldId="280"/>
            <ac:spMk id="26" creationId="{059FACD5-8087-4FD0-9EE0-1843700CCCC2}"/>
          </ac:spMkLst>
        </pc:spChg>
        <pc:spChg chg="mod">
          <ac:chgData name="Thomas Stensitzki" userId="75cafe6b-2f2a-469b-85c4-eec3b9c972ba" providerId="ADAL" clId="{BAD737A7-2F8E-4B82-9225-C1B9CBC54DB5}" dt="2020-11-15T10:48:46.124" v="466" actId="790"/>
          <ac:spMkLst>
            <pc:docMk/>
            <pc:sldMk cId="2488069756" sldId="280"/>
            <ac:spMk id="29" creationId="{C22DA863-3B13-42AD-972C-19CA81956A1A}"/>
          </ac:spMkLst>
        </pc:spChg>
        <pc:spChg chg="add mod">
          <ac:chgData name="Thomas Stensitzki" userId="75cafe6b-2f2a-469b-85c4-eec3b9c972ba" providerId="ADAL" clId="{BAD737A7-2F8E-4B82-9225-C1B9CBC54DB5}" dt="2020-11-15T10:48:46.124" v="467"/>
          <ac:spMkLst>
            <pc:docMk/>
            <pc:sldMk cId="2488069756" sldId="280"/>
            <ac:spMk id="30" creationId="{C3331EF9-3D3E-4829-8505-108D077E20D1}"/>
          </ac:spMkLst>
        </pc:spChg>
        <pc:spChg chg="add mod">
          <ac:chgData name="Thomas Stensitzki" userId="75cafe6b-2f2a-469b-85c4-eec3b9c972ba" providerId="ADAL" clId="{BAD737A7-2F8E-4B82-9225-C1B9CBC54DB5}" dt="2020-11-15T10:48:46.125" v="468"/>
          <ac:spMkLst>
            <pc:docMk/>
            <pc:sldMk cId="2488069756" sldId="280"/>
            <ac:spMk id="31" creationId="{55D86676-7D39-4A01-9E83-E6ACD1F49913}"/>
          </ac:spMkLst>
        </pc:spChg>
        <pc:spChg chg="mod">
          <ac:chgData name="Thomas Stensitzki" userId="75cafe6b-2f2a-469b-85c4-eec3b9c972ba" providerId="ADAL" clId="{BAD737A7-2F8E-4B82-9225-C1B9CBC54DB5}" dt="2020-11-15T10:48:46.127" v="469" actId="790"/>
          <ac:spMkLst>
            <pc:docMk/>
            <pc:sldMk cId="2488069756" sldId="280"/>
            <ac:spMk id="34" creationId="{70EE07B5-2E08-4EB8-857F-5C9437B11B10}"/>
          </ac:spMkLst>
        </pc:spChg>
        <pc:spChg chg="mod">
          <ac:chgData name="Thomas Stensitzki" userId="75cafe6b-2f2a-469b-85c4-eec3b9c972ba" providerId="ADAL" clId="{BAD737A7-2F8E-4B82-9225-C1B9CBC54DB5}" dt="2020-11-15T10:48:46.129" v="470" actId="790"/>
          <ac:spMkLst>
            <pc:docMk/>
            <pc:sldMk cId="2488069756" sldId="280"/>
            <ac:spMk id="37" creationId="{8383E0B6-F835-4A10-B104-3DED98C1AD04}"/>
          </ac:spMkLst>
        </pc:spChg>
        <pc:spChg chg="mod">
          <ac:chgData name="Thomas Stensitzki" userId="75cafe6b-2f2a-469b-85c4-eec3b9c972ba" providerId="ADAL" clId="{BAD737A7-2F8E-4B82-9225-C1B9CBC54DB5}" dt="2020-11-15T10:48:46.131" v="471" actId="790"/>
          <ac:spMkLst>
            <pc:docMk/>
            <pc:sldMk cId="2488069756" sldId="280"/>
            <ac:spMk id="40" creationId="{84214638-48D5-4066-B354-09A7ED82733C}"/>
          </ac:spMkLst>
        </pc:spChg>
        <pc:spChg chg="mod">
          <ac:chgData name="Thomas Stensitzki" userId="75cafe6b-2f2a-469b-85c4-eec3b9c972ba" providerId="ADAL" clId="{BAD737A7-2F8E-4B82-9225-C1B9CBC54DB5}" dt="2020-11-15T10:48:46.133" v="472" actId="790"/>
          <ac:spMkLst>
            <pc:docMk/>
            <pc:sldMk cId="2488069756" sldId="280"/>
            <ac:spMk id="44" creationId="{A30A62AE-DBDE-49B9-98BB-33BFD2C40B34}"/>
          </ac:spMkLst>
        </pc:spChg>
        <pc:spChg chg="mod">
          <ac:chgData name="Thomas Stensitzki" userId="75cafe6b-2f2a-469b-85c4-eec3b9c972ba" providerId="ADAL" clId="{BAD737A7-2F8E-4B82-9225-C1B9CBC54DB5}" dt="2020-11-15T10:48:46.135" v="473" actId="790"/>
          <ac:spMkLst>
            <pc:docMk/>
            <pc:sldMk cId="2488069756" sldId="280"/>
            <ac:spMk id="49" creationId="{967EFCA1-5E07-44FA-9046-CE44E18410CD}"/>
          </ac:spMkLst>
        </pc:spChg>
        <pc:spChg chg="mod">
          <ac:chgData name="Thomas Stensitzki" userId="75cafe6b-2f2a-469b-85c4-eec3b9c972ba" providerId="ADAL" clId="{BAD737A7-2F8E-4B82-9225-C1B9CBC54DB5}" dt="2020-11-15T10:48:46.137" v="474" actId="790"/>
          <ac:spMkLst>
            <pc:docMk/>
            <pc:sldMk cId="2488069756" sldId="280"/>
            <ac:spMk id="54" creationId="{C21DAA9D-3B03-4AE2-832C-117BF443ECA5}"/>
          </ac:spMkLst>
        </pc:spChg>
        <pc:spChg chg="mod">
          <ac:chgData name="Thomas Stensitzki" userId="75cafe6b-2f2a-469b-85c4-eec3b9c972ba" providerId="ADAL" clId="{BAD737A7-2F8E-4B82-9225-C1B9CBC54DB5}" dt="2020-11-15T10:48:46.139" v="475" actId="790"/>
          <ac:spMkLst>
            <pc:docMk/>
            <pc:sldMk cId="2488069756" sldId="280"/>
            <ac:spMk id="61" creationId="{94C06D5C-E9AF-4640-872B-C737CA4DC98C}"/>
          </ac:spMkLst>
        </pc:spChg>
        <pc:spChg chg="mod">
          <ac:chgData name="Thomas Stensitzki" userId="75cafe6b-2f2a-469b-85c4-eec3b9c972ba" providerId="ADAL" clId="{BAD737A7-2F8E-4B82-9225-C1B9CBC54DB5}" dt="2020-11-15T10:48:46.141" v="476" actId="790"/>
          <ac:spMkLst>
            <pc:docMk/>
            <pc:sldMk cId="2488069756" sldId="280"/>
            <ac:spMk id="62" creationId="{7FB7E95E-C7BC-4901-8E82-09AFF2E245DC}"/>
          </ac:spMkLst>
        </pc:spChg>
        <pc:spChg chg="add mod">
          <ac:chgData name="Thomas Stensitzki" userId="75cafe6b-2f2a-469b-85c4-eec3b9c972ba" providerId="ADAL" clId="{BAD737A7-2F8E-4B82-9225-C1B9CBC54DB5}" dt="2020-11-15T10:48:46.142" v="477"/>
          <ac:spMkLst>
            <pc:docMk/>
            <pc:sldMk cId="2488069756" sldId="280"/>
            <ac:spMk id="63" creationId="{B7AB983B-FB10-4E6D-B03F-EB99499B9B33}"/>
          </ac:spMkLst>
        </pc:spChg>
        <pc:spChg chg="mod">
          <ac:chgData name="Thomas Stensitzki" userId="75cafe6b-2f2a-469b-85c4-eec3b9c972ba" providerId="ADAL" clId="{BAD737A7-2F8E-4B82-9225-C1B9CBC54DB5}" dt="2020-11-15T10:48:46.144" v="478" actId="790"/>
          <ac:spMkLst>
            <pc:docMk/>
            <pc:sldMk cId="2488069756" sldId="280"/>
            <ac:spMk id="66" creationId="{3E7E79A5-86A2-4D80-87A3-9F6CAB3D766A}"/>
          </ac:spMkLst>
        </pc:s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21" creationId="{4EDE2062-5B51-4153-94DD-A40AD7124CC9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24" creationId="{CAE18482-9C01-4CF5-8713-016CC92E38A9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27" creationId="{E7D6DEA9-0A74-40FE-9451-DE3495AF599B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32" creationId="{FF59613A-5792-4B2B-B382-77AA2B2BBB71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35" creationId="{784EDF48-9CF9-4B67-8244-730D6E5E0197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38" creationId="{0EBACCF9-51E8-49B6-B4A4-C9752BE12AF6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42" creationId="{07A3CD9D-86D1-4179-BB5E-408090B5D3B5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46" creationId="{4229CC16-C56B-42D0-8468-22F29E876771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52" creationId="{030318FD-F9EF-47BC-B045-EAFDC6A7005C}"/>
          </ac:grpSpMkLst>
        </pc:grpChg>
        <pc:grpChg chg="add mod">
          <ac:chgData name="Thomas Stensitzki" userId="75cafe6b-2f2a-469b-85c4-eec3b9c972ba" providerId="ADAL" clId="{BAD737A7-2F8E-4B82-9225-C1B9CBC54DB5}" dt="2020-11-15T10:38:24.929" v="244" actId="1076"/>
          <ac:grpSpMkLst>
            <pc:docMk/>
            <pc:sldMk cId="2488069756" sldId="280"/>
            <ac:grpSpMk id="58" creationId="{65E90639-A554-482E-A35F-113E52B45A29}"/>
          </ac:grpSpMkLst>
        </pc:grpChg>
        <pc:grpChg chg="add mod">
          <ac:chgData name="Thomas Stensitzki" userId="75cafe6b-2f2a-469b-85c4-eec3b9c972ba" providerId="ADAL" clId="{BAD737A7-2F8E-4B82-9225-C1B9CBC54DB5}" dt="2020-11-15T10:41:58.746" v="343" actId="1038"/>
          <ac:grpSpMkLst>
            <pc:docMk/>
            <pc:sldMk cId="2488069756" sldId="280"/>
            <ac:grpSpMk id="64" creationId="{1566D4F0-AC26-4B49-9B7B-D6F2B11E35BD}"/>
          </ac:grpSpMkLst>
        </pc:grp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9" creationId="{E741653C-591C-464E-B6BB-4F5D7A19E69C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0" creationId="{414ADDB4-4CB2-4867-951F-4D15F315C3DE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1" creationId="{44A60ECD-D8AB-40FB-A8D4-23C8DA2D3E07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2" creationId="{D9251DF0-C240-4B50-ABFF-240DC3EF719A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3" creationId="{658F6C64-5527-48EA-B57F-2F1F11BF04F2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4" creationId="{8811834B-13CF-4C9F-A6CD-6D5FD2FC4C0E}"/>
          </ac:cxnSpMkLst>
        </pc:cxnChg>
        <pc:cxnChg chg="mod">
          <ac:chgData name="Thomas Stensitzki" userId="75cafe6b-2f2a-469b-85c4-eec3b9c972ba" providerId="ADAL" clId="{BAD737A7-2F8E-4B82-9225-C1B9CBC54DB5}" dt="2020-11-15T10:42:50.238" v="361" actId="208"/>
          <ac:cxnSpMkLst>
            <pc:docMk/>
            <pc:sldMk cId="2488069756" sldId="280"/>
            <ac:cxnSpMk id="22" creationId="{3A71C949-3DD3-4256-9714-FAC3320E7133}"/>
          </ac:cxnSpMkLst>
        </pc:cxnChg>
        <pc:cxnChg chg="mod">
          <ac:chgData name="Thomas Stensitzki" userId="75cafe6b-2f2a-469b-85c4-eec3b9c972ba" providerId="ADAL" clId="{BAD737A7-2F8E-4B82-9225-C1B9CBC54DB5}" dt="2020-11-15T10:43:43.249" v="365" actId="208"/>
          <ac:cxnSpMkLst>
            <pc:docMk/>
            <pc:sldMk cId="2488069756" sldId="280"/>
            <ac:cxnSpMk id="25" creationId="{7D39851B-44E4-4FD1-8054-B12CBD036951}"/>
          </ac:cxnSpMkLst>
        </pc:cxnChg>
        <pc:cxnChg chg="mod">
          <ac:chgData name="Thomas Stensitzki" userId="75cafe6b-2f2a-469b-85c4-eec3b9c972ba" providerId="ADAL" clId="{BAD737A7-2F8E-4B82-9225-C1B9CBC54DB5}" dt="2020-11-15T10:43:03.001" v="364" actId="208"/>
          <ac:cxnSpMkLst>
            <pc:docMk/>
            <pc:sldMk cId="2488069756" sldId="280"/>
            <ac:cxnSpMk id="28" creationId="{D35985EA-ADEC-4DB6-8766-AF50DB3C11E3}"/>
          </ac:cxnSpMkLst>
        </pc:cxnChg>
        <pc:cxnChg chg="mod">
          <ac:chgData name="Thomas Stensitzki" userId="75cafe6b-2f2a-469b-85c4-eec3b9c972ba" providerId="ADAL" clId="{BAD737A7-2F8E-4B82-9225-C1B9CBC54DB5}" dt="2020-11-15T10:40:28.068" v="253" actId="208"/>
          <ac:cxnSpMkLst>
            <pc:docMk/>
            <pc:sldMk cId="2488069756" sldId="280"/>
            <ac:cxnSpMk id="33" creationId="{A1F7E934-F54F-4593-A9B5-B08682860CA0}"/>
          </ac:cxnSpMkLst>
        </pc:cxnChg>
        <pc:cxnChg chg="mod">
          <ac:chgData name="Thomas Stensitzki" userId="75cafe6b-2f2a-469b-85c4-eec3b9c972ba" providerId="ADAL" clId="{BAD737A7-2F8E-4B82-9225-C1B9CBC54DB5}" dt="2020-11-15T10:42:54.844" v="362" actId="208"/>
          <ac:cxnSpMkLst>
            <pc:docMk/>
            <pc:sldMk cId="2488069756" sldId="280"/>
            <ac:cxnSpMk id="36" creationId="{03D5CEAC-7B57-4F5F-9B30-D2BAEA2D8098}"/>
          </ac:cxnSpMkLst>
        </pc:cxnChg>
        <pc:cxnChg chg="mod">
          <ac:chgData name="Thomas Stensitzki" userId="75cafe6b-2f2a-469b-85c4-eec3b9c972ba" providerId="ADAL" clId="{BAD737A7-2F8E-4B82-9225-C1B9CBC54DB5}" dt="2020-11-15T10:42:57.869" v="363" actId="208"/>
          <ac:cxnSpMkLst>
            <pc:docMk/>
            <pc:sldMk cId="2488069756" sldId="280"/>
            <ac:cxnSpMk id="39" creationId="{B994D863-597F-4C13-93AC-F369418ABDA7}"/>
          </ac:cxnSpMkLst>
        </pc:cxnChg>
        <pc:cxnChg chg="add mod">
          <ac:chgData name="Thomas Stensitzki" userId="75cafe6b-2f2a-469b-85c4-eec3b9c972ba" providerId="ADAL" clId="{BAD737A7-2F8E-4B82-9225-C1B9CBC54DB5}" dt="2020-11-15T10:40:31.362" v="254" actId="208"/>
          <ac:cxnSpMkLst>
            <pc:docMk/>
            <pc:sldMk cId="2488069756" sldId="280"/>
            <ac:cxnSpMk id="41" creationId="{8E674905-E90F-44AE-8BAB-19ED62625A9B}"/>
          </ac:cxnSpMkLst>
        </pc:cxnChg>
        <pc:cxnChg chg="mod">
          <ac:chgData name="Thomas Stensitzki" userId="75cafe6b-2f2a-469b-85c4-eec3b9c972ba" providerId="ADAL" clId="{BAD737A7-2F8E-4B82-9225-C1B9CBC54DB5}" dt="2020-11-15T10:38:52.734" v="246" actId="208"/>
          <ac:cxnSpMkLst>
            <pc:docMk/>
            <pc:sldMk cId="2488069756" sldId="280"/>
            <ac:cxnSpMk id="43" creationId="{99AC89C6-1E30-49C9-87BA-56F7DCA1D742}"/>
          </ac:cxnSpMkLst>
        </pc:cxnChg>
        <pc:cxnChg chg="mod">
          <ac:chgData name="Thomas Stensitzki" userId="75cafe6b-2f2a-469b-85c4-eec3b9c972ba" providerId="ADAL" clId="{BAD737A7-2F8E-4B82-9225-C1B9CBC54DB5}" dt="2020-11-15T10:37:36.675" v="210"/>
          <ac:cxnSpMkLst>
            <pc:docMk/>
            <pc:sldMk cId="2488069756" sldId="280"/>
            <ac:cxnSpMk id="45" creationId="{3A3C7118-8793-47EF-A866-E41DC4FD8108}"/>
          </ac:cxnSpMkLst>
        </pc:cxnChg>
        <pc:cxnChg chg="mod">
          <ac:chgData name="Thomas Stensitzki" userId="75cafe6b-2f2a-469b-85c4-eec3b9c972ba" providerId="ADAL" clId="{BAD737A7-2F8E-4B82-9225-C1B9CBC54DB5}" dt="2020-11-15T10:39:01.759" v="247" actId="208"/>
          <ac:cxnSpMkLst>
            <pc:docMk/>
            <pc:sldMk cId="2488069756" sldId="280"/>
            <ac:cxnSpMk id="47" creationId="{CE19CA7A-97A1-402E-BE52-65B3F351FA00}"/>
          </ac:cxnSpMkLst>
        </pc:cxnChg>
        <pc:cxnChg chg="mod">
          <ac:chgData name="Thomas Stensitzki" userId="75cafe6b-2f2a-469b-85c4-eec3b9c972ba" providerId="ADAL" clId="{BAD737A7-2F8E-4B82-9225-C1B9CBC54DB5}" dt="2020-11-15T10:39:01.759" v="247" actId="208"/>
          <ac:cxnSpMkLst>
            <pc:docMk/>
            <pc:sldMk cId="2488069756" sldId="280"/>
            <ac:cxnSpMk id="48" creationId="{FDC8EBDA-7D7E-4039-9694-1E0037E557AD}"/>
          </ac:cxnSpMkLst>
        </pc:cxnChg>
        <pc:cxnChg chg="mod">
          <ac:chgData name="Thomas Stensitzki" userId="75cafe6b-2f2a-469b-85c4-eec3b9c972ba" providerId="ADAL" clId="{BAD737A7-2F8E-4B82-9225-C1B9CBC54DB5}" dt="2020-11-15T10:39:01.759" v="247" actId="208"/>
          <ac:cxnSpMkLst>
            <pc:docMk/>
            <pc:sldMk cId="2488069756" sldId="280"/>
            <ac:cxnSpMk id="50" creationId="{0344565D-B771-440E-9A81-C3B32CBCE0D2}"/>
          </ac:cxnSpMkLst>
        </pc:cxnChg>
        <pc:cxnChg chg="mod">
          <ac:chgData name="Thomas Stensitzki" userId="75cafe6b-2f2a-469b-85c4-eec3b9c972ba" providerId="ADAL" clId="{BAD737A7-2F8E-4B82-9225-C1B9CBC54DB5}" dt="2020-11-15T10:39:01.759" v="247" actId="208"/>
          <ac:cxnSpMkLst>
            <pc:docMk/>
            <pc:sldMk cId="2488069756" sldId="280"/>
            <ac:cxnSpMk id="51" creationId="{63326AB1-BAB6-4399-BEA5-14CEC46567E7}"/>
          </ac:cxnSpMkLst>
        </pc:cxnChg>
        <pc:cxnChg chg="mod">
          <ac:chgData name="Thomas Stensitzki" userId="75cafe6b-2f2a-469b-85c4-eec3b9c972ba" providerId="ADAL" clId="{BAD737A7-2F8E-4B82-9225-C1B9CBC54DB5}" dt="2020-11-15T10:39:38.197" v="250" actId="208"/>
          <ac:cxnSpMkLst>
            <pc:docMk/>
            <pc:sldMk cId="2488069756" sldId="280"/>
            <ac:cxnSpMk id="53" creationId="{6C2BB0BD-9526-4F4A-9222-BD0946A8A5F8}"/>
          </ac:cxnSpMkLst>
        </pc:cxnChg>
        <pc:cxnChg chg="mod">
          <ac:chgData name="Thomas Stensitzki" userId="75cafe6b-2f2a-469b-85c4-eec3b9c972ba" providerId="ADAL" clId="{BAD737A7-2F8E-4B82-9225-C1B9CBC54DB5}" dt="2020-11-15T10:39:38.197" v="250" actId="208"/>
          <ac:cxnSpMkLst>
            <pc:docMk/>
            <pc:sldMk cId="2488069756" sldId="280"/>
            <ac:cxnSpMk id="55" creationId="{30C3228D-BA25-4AC7-BFF0-A4C6002020A1}"/>
          </ac:cxnSpMkLst>
        </pc:cxnChg>
        <pc:cxnChg chg="mod">
          <ac:chgData name="Thomas Stensitzki" userId="75cafe6b-2f2a-469b-85c4-eec3b9c972ba" providerId="ADAL" clId="{BAD737A7-2F8E-4B82-9225-C1B9CBC54DB5}" dt="2020-11-15T10:39:38.197" v="250" actId="208"/>
          <ac:cxnSpMkLst>
            <pc:docMk/>
            <pc:sldMk cId="2488069756" sldId="280"/>
            <ac:cxnSpMk id="56" creationId="{57FCFDC0-F7A1-48D9-9363-905BCA33A194}"/>
          </ac:cxnSpMkLst>
        </pc:cxnChg>
        <pc:cxnChg chg="mod">
          <ac:chgData name="Thomas Stensitzki" userId="75cafe6b-2f2a-469b-85c4-eec3b9c972ba" providerId="ADAL" clId="{BAD737A7-2F8E-4B82-9225-C1B9CBC54DB5}" dt="2020-11-15T10:39:38.197" v="250" actId="208"/>
          <ac:cxnSpMkLst>
            <pc:docMk/>
            <pc:sldMk cId="2488069756" sldId="280"/>
            <ac:cxnSpMk id="57" creationId="{18E81890-30F7-4CA1-B411-C322CDE0E56B}"/>
          </ac:cxnSpMkLst>
        </pc:cxnChg>
        <pc:cxnChg chg="mod">
          <ac:chgData name="Thomas Stensitzki" userId="75cafe6b-2f2a-469b-85c4-eec3b9c972ba" providerId="ADAL" clId="{BAD737A7-2F8E-4B82-9225-C1B9CBC54DB5}" dt="2020-11-15T10:37:36.675" v="210"/>
          <ac:cxnSpMkLst>
            <pc:docMk/>
            <pc:sldMk cId="2488069756" sldId="280"/>
            <ac:cxnSpMk id="59" creationId="{AC013DCF-A291-43BC-81AC-9746B30F0155}"/>
          </ac:cxnSpMkLst>
        </pc:cxnChg>
        <pc:cxnChg chg="mod">
          <ac:chgData name="Thomas Stensitzki" userId="75cafe6b-2f2a-469b-85c4-eec3b9c972ba" providerId="ADAL" clId="{BAD737A7-2F8E-4B82-9225-C1B9CBC54DB5}" dt="2020-11-15T10:37:36.675" v="210"/>
          <ac:cxnSpMkLst>
            <pc:docMk/>
            <pc:sldMk cId="2488069756" sldId="280"/>
            <ac:cxnSpMk id="60" creationId="{8F2FC933-E521-4B79-9E8F-754DE9AE4330}"/>
          </ac:cxnSpMkLst>
        </pc:cxnChg>
        <pc:cxnChg chg="mod">
          <ac:chgData name="Thomas Stensitzki" userId="75cafe6b-2f2a-469b-85c4-eec3b9c972ba" providerId="ADAL" clId="{BAD737A7-2F8E-4B82-9225-C1B9CBC54DB5}" dt="2020-11-15T10:42:38.328" v="360" actId="208"/>
          <ac:cxnSpMkLst>
            <pc:docMk/>
            <pc:sldMk cId="2488069756" sldId="280"/>
            <ac:cxnSpMk id="65" creationId="{ABDDDA01-1374-4299-9D31-910732C77B93}"/>
          </ac:cxnSpMkLst>
        </pc:cxnChg>
      </pc:sldChg>
      <pc:sldChg chg="addSp modSp new mod modTransition modNotes">
        <pc:chgData name="Thomas Stensitzki" userId="75cafe6b-2f2a-469b-85c4-eec3b9c972ba" providerId="ADAL" clId="{BAD737A7-2F8E-4B82-9225-C1B9CBC54DB5}" dt="2020-11-15T10:55:16.003" v="806"/>
        <pc:sldMkLst>
          <pc:docMk/>
          <pc:sldMk cId="3401715277" sldId="281"/>
        </pc:sldMkLst>
        <pc:spChg chg="mod">
          <ac:chgData name="Thomas Stensitzki" userId="75cafe6b-2f2a-469b-85c4-eec3b9c972ba" providerId="ADAL" clId="{BAD737A7-2F8E-4B82-9225-C1B9CBC54DB5}" dt="2020-11-15T10:48:46.150" v="481" actId="790"/>
          <ac:spMkLst>
            <pc:docMk/>
            <pc:sldMk cId="3401715277" sldId="281"/>
            <ac:spMk id="2" creationId="{137821CA-4AC1-4337-8EE8-F911C6F77C5B}"/>
          </ac:spMkLst>
        </pc:spChg>
        <pc:graphicFrameChg chg="add mod modGraphic">
          <ac:chgData name="Thomas Stensitzki" userId="75cafe6b-2f2a-469b-85c4-eec3b9c972ba" providerId="ADAL" clId="{BAD737A7-2F8E-4B82-9225-C1B9CBC54DB5}" dt="2020-11-15T10:48:46.182" v="496" actId="790"/>
          <ac:graphicFrameMkLst>
            <pc:docMk/>
            <pc:sldMk cId="3401715277" sldId="281"/>
            <ac:graphicFrameMk id="4" creationId="{5D3837D1-62A6-45A0-AB30-5AC3EF59B501}"/>
          </ac:graphicFrameMkLst>
        </pc:graphicFrameChg>
      </pc:sldChg>
      <pc:sldChg chg="addSp delSp modSp new mod modTransition modClrScheme chgLayout modNotes">
        <pc:chgData name="Thomas Stensitzki" userId="75cafe6b-2f2a-469b-85c4-eec3b9c972ba" providerId="ADAL" clId="{BAD737A7-2F8E-4B82-9225-C1B9CBC54DB5}" dt="2020-11-15T10:55:16.003" v="806"/>
        <pc:sldMkLst>
          <pc:docMk/>
          <pc:sldMk cId="1813590357" sldId="282"/>
        </pc:sldMkLst>
        <pc:spChg chg="del mod ord">
          <ac:chgData name="Thomas Stensitzki" userId="75cafe6b-2f2a-469b-85c4-eec3b9c972ba" providerId="ADAL" clId="{BAD737A7-2F8E-4B82-9225-C1B9CBC54DB5}" dt="2020-11-15T10:46:06.180" v="388" actId="700"/>
          <ac:spMkLst>
            <pc:docMk/>
            <pc:sldMk cId="1813590357" sldId="282"/>
            <ac:spMk id="2" creationId="{ABAF0061-45F8-4A9C-907B-961AA49CD00C}"/>
          </ac:spMkLst>
        </pc:spChg>
        <pc:spChg chg="del mod ord">
          <ac:chgData name="Thomas Stensitzki" userId="75cafe6b-2f2a-469b-85c4-eec3b9c972ba" providerId="ADAL" clId="{BAD737A7-2F8E-4B82-9225-C1B9CBC54DB5}" dt="2020-11-15T10:46:06.180" v="388" actId="700"/>
          <ac:spMkLst>
            <pc:docMk/>
            <pc:sldMk cId="1813590357" sldId="282"/>
            <ac:spMk id="3" creationId="{CCF2B42E-4122-41EB-BC5F-91ECF3A89575}"/>
          </ac:spMkLst>
        </pc:spChg>
        <pc:spChg chg="del">
          <ac:chgData name="Thomas Stensitzki" userId="75cafe6b-2f2a-469b-85c4-eec3b9c972ba" providerId="ADAL" clId="{BAD737A7-2F8E-4B82-9225-C1B9CBC54DB5}" dt="2020-11-15T10:46:06.180" v="388" actId="700"/>
          <ac:spMkLst>
            <pc:docMk/>
            <pc:sldMk cId="1813590357" sldId="282"/>
            <ac:spMk id="4" creationId="{38227C79-0A54-4A52-83FD-01053A801353}"/>
          </ac:spMkLst>
        </pc:spChg>
        <pc:spChg chg="del mod ord">
          <ac:chgData name="Thomas Stensitzki" userId="75cafe6b-2f2a-469b-85c4-eec3b9c972ba" providerId="ADAL" clId="{BAD737A7-2F8E-4B82-9225-C1B9CBC54DB5}" dt="2020-11-15T10:46:06.180" v="388" actId="700"/>
          <ac:spMkLst>
            <pc:docMk/>
            <pc:sldMk cId="1813590357" sldId="282"/>
            <ac:spMk id="5" creationId="{AB17F5B1-6F5A-4B51-9BB9-C39B7F8ABFB5}"/>
          </ac:spMkLst>
        </pc:spChg>
        <pc:spChg chg="add mod ord">
          <ac:chgData name="Thomas Stensitzki" userId="75cafe6b-2f2a-469b-85c4-eec3b9c972ba" providerId="ADAL" clId="{BAD737A7-2F8E-4B82-9225-C1B9CBC54DB5}" dt="2020-11-15T10:48:46.195" v="503" actId="790"/>
          <ac:spMkLst>
            <pc:docMk/>
            <pc:sldMk cId="1813590357" sldId="282"/>
            <ac:spMk id="6" creationId="{AC167DDF-F35E-40DD-9598-3EA4810A28D2}"/>
          </ac:spMkLst>
        </pc:spChg>
        <pc:spChg chg="add mod ord">
          <ac:chgData name="Thomas Stensitzki" userId="75cafe6b-2f2a-469b-85c4-eec3b9c972ba" providerId="ADAL" clId="{BAD737A7-2F8E-4B82-9225-C1B9CBC54DB5}" dt="2020-11-15T10:48:46.204" v="504" actId="790"/>
          <ac:spMkLst>
            <pc:docMk/>
            <pc:sldMk cId="1813590357" sldId="282"/>
            <ac:spMk id="7" creationId="{A26E1B01-608F-4484-937A-1F1B87C85AEC}"/>
          </ac:spMkLst>
        </pc:spChg>
        <pc:spChg chg="add mod ord">
          <ac:chgData name="Thomas Stensitzki" userId="75cafe6b-2f2a-469b-85c4-eec3b9c972ba" providerId="ADAL" clId="{BAD737A7-2F8E-4B82-9225-C1B9CBC54DB5}" dt="2020-11-15T10:48:46.206" v="505" actId="790"/>
          <ac:spMkLst>
            <pc:docMk/>
            <pc:sldMk cId="1813590357" sldId="282"/>
            <ac:spMk id="8" creationId="{7EA59AE8-FA0B-41DD-ACBA-A5F925EE2510}"/>
          </ac:spMkLst>
        </pc:spChg>
      </pc:sldChg>
      <pc:sldChg chg="addSp delSp modSp new mod modTransition modClrScheme chgLayout">
        <pc:chgData name="Thomas Stensitzki" userId="75cafe6b-2f2a-469b-85c4-eec3b9c972ba" providerId="ADAL" clId="{BAD737A7-2F8E-4B82-9225-C1B9CBC54DB5}" dt="2020-11-15T10:55:16.003" v="806"/>
        <pc:sldMkLst>
          <pc:docMk/>
          <pc:sldMk cId="1120448015" sldId="283"/>
        </pc:sldMkLst>
        <pc:spChg chg="del">
          <ac:chgData name="Thomas Stensitzki" userId="75cafe6b-2f2a-469b-85c4-eec3b9c972ba" providerId="ADAL" clId="{BAD737A7-2F8E-4B82-9225-C1B9CBC54DB5}" dt="2020-11-15T10:50:10.471" v="512" actId="700"/>
          <ac:spMkLst>
            <pc:docMk/>
            <pc:sldMk cId="1120448015" sldId="283"/>
            <ac:spMk id="2" creationId="{605FF4AC-CB6C-4FBE-B1EB-AFC11E555E31}"/>
          </ac:spMkLst>
        </pc:spChg>
        <pc:spChg chg="del">
          <ac:chgData name="Thomas Stensitzki" userId="75cafe6b-2f2a-469b-85c4-eec3b9c972ba" providerId="ADAL" clId="{BAD737A7-2F8E-4B82-9225-C1B9CBC54DB5}" dt="2020-11-15T10:50:10.471" v="512" actId="700"/>
          <ac:spMkLst>
            <pc:docMk/>
            <pc:sldMk cId="1120448015" sldId="283"/>
            <ac:spMk id="3" creationId="{8347B5B6-BAF3-40AD-A704-DB68F1475EE5}"/>
          </ac:spMkLst>
        </pc:spChg>
        <pc:spChg chg="del">
          <ac:chgData name="Thomas Stensitzki" userId="75cafe6b-2f2a-469b-85c4-eec3b9c972ba" providerId="ADAL" clId="{BAD737A7-2F8E-4B82-9225-C1B9CBC54DB5}" dt="2020-11-15T10:50:10.471" v="512" actId="700"/>
          <ac:spMkLst>
            <pc:docMk/>
            <pc:sldMk cId="1120448015" sldId="283"/>
            <ac:spMk id="4" creationId="{4B28B4A1-1EC0-4C90-9753-2E2FE5F7F7CE}"/>
          </ac:spMkLst>
        </pc:spChg>
        <pc:spChg chg="add del mod ord">
          <ac:chgData name="Thomas Stensitzki" userId="75cafe6b-2f2a-469b-85c4-eec3b9c972ba" providerId="ADAL" clId="{BAD737A7-2F8E-4B82-9225-C1B9CBC54DB5}" dt="2020-11-15T10:50:14.151" v="514" actId="700"/>
          <ac:spMkLst>
            <pc:docMk/>
            <pc:sldMk cId="1120448015" sldId="283"/>
            <ac:spMk id="5" creationId="{4DEB5E93-F588-4474-8BA4-720D603B72B2}"/>
          </ac:spMkLst>
        </pc:spChg>
        <pc:spChg chg="add del mod ord">
          <ac:chgData name="Thomas Stensitzki" userId="75cafe6b-2f2a-469b-85c4-eec3b9c972ba" providerId="ADAL" clId="{BAD737A7-2F8E-4B82-9225-C1B9CBC54DB5}" dt="2020-11-15T10:50:14.151" v="514" actId="700"/>
          <ac:spMkLst>
            <pc:docMk/>
            <pc:sldMk cId="1120448015" sldId="283"/>
            <ac:spMk id="6" creationId="{851BFE5D-6AC8-4C99-B438-B57CAE728087}"/>
          </ac:spMkLst>
        </pc:spChg>
        <pc:spChg chg="add del mod ord">
          <ac:chgData name="Thomas Stensitzki" userId="75cafe6b-2f2a-469b-85c4-eec3b9c972ba" providerId="ADAL" clId="{BAD737A7-2F8E-4B82-9225-C1B9CBC54DB5}" dt="2020-11-15T10:50:14.151" v="514" actId="700"/>
          <ac:spMkLst>
            <pc:docMk/>
            <pc:sldMk cId="1120448015" sldId="283"/>
            <ac:spMk id="7" creationId="{FD914771-8780-464A-B72D-DE7D324109CA}"/>
          </ac:spMkLst>
        </pc:spChg>
        <pc:spChg chg="add mod ord">
          <ac:chgData name="Thomas Stensitzki" userId="75cafe6b-2f2a-469b-85c4-eec3b9c972ba" providerId="ADAL" clId="{BAD737A7-2F8E-4B82-9225-C1B9CBC54DB5}" dt="2020-11-15T10:50:19.431" v="533" actId="20577"/>
          <ac:spMkLst>
            <pc:docMk/>
            <pc:sldMk cId="1120448015" sldId="283"/>
            <ac:spMk id="8" creationId="{7753695D-B6FA-4781-8B90-054226157255}"/>
          </ac:spMkLst>
        </pc:spChg>
        <pc:spChg chg="add mod ord">
          <ac:chgData name="Thomas Stensitzki" userId="75cafe6b-2f2a-469b-85c4-eec3b9c972ba" providerId="ADAL" clId="{BAD737A7-2F8E-4B82-9225-C1B9CBC54DB5}" dt="2020-11-15T10:50:14.151" v="514" actId="700"/>
          <ac:spMkLst>
            <pc:docMk/>
            <pc:sldMk cId="1120448015" sldId="283"/>
            <ac:spMk id="9" creationId="{7ACD5D95-6785-48AB-A08F-F511798021FE}"/>
          </ac:spMkLst>
        </pc:spChg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415593282" sldId="283"/>
        </pc:sldMkLst>
      </pc:sldChg>
      <pc:sldChg chg="addSp delSp modSp new mod modTransition modAnim">
        <pc:chgData name="Thomas Stensitzki" userId="75cafe6b-2f2a-469b-85c4-eec3b9c972ba" providerId="ADAL" clId="{BAD737A7-2F8E-4B82-9225-C1B9CBC54DB5}" dt="2020-11-15T11:13:49.689" v="1323"/>
        <pc:sldMkLst>
          <pc:docMk/>
          <pc:sldMk cId="2726485231" sldId="284"/>
        </pc:sldMkLst>
        <pc:spChg chg="mod">
          <ac:chgData name="Thomas Stensitzki" userId="75cafe6b-2f2a-469b-85c4-eec3b9c972ba" providerId="ADAL" clId="{BAD737A7-2F8E-4B82-9225-C1B9CBC54DB5}" dt="2020-11-15T10:50:33.053" v="553" actId="20577"/>
          <ac:spMkLst>
            <pc:docMk/>
            <pc:sldMk cId="2726485231" sldId="284"/>
            <ac:spMk id="2" creationId="{849854A8-3F65-416E-BB4A-7828E99102DB}"/>
          </ac:spMkLst>
        </pc:spChg>
        <pc:spChg chg="mod">
          <ac:chgData name="Thomas Stensitzki" userId="75cafe6b-2f2a-469b-85c4-eec3b9c972ba" providerId="ADAL" clId="{BAD737A7-2F8E-4B82-9225-C1B9CBC54DB5}" dt="2020-11-15T11:13:41.609" v="1320" actId="27636"/>
          <ac:spMkLst>
            <pc:docMk/>
            <pc:sldMk cId="2726485231" sldId="284"/>
            <ac:spMk id="3" creationId="{852D7D7E-BA81-48A9-8091-7743702661A8}"/>
          </ac:spMkLst>
        </pc:spChg>
        <pc:spChg chg="mod">
          <ac:chgData name="Thomas Stensitzki" userId="75cafe6b-2f2a-469b-85c4-eec3b9c972ba" providerId="ADAL" clId="{BAD737A7-2F8E-4B82-9225-C1B9CBC54DB5}" dt="2020-11-15T10:55:47.873" v="829" actId="20577"/>
          <ac:spMkLst>
            <pc:docMk/>
            <pc:sldMk cId="2726485231" sldId="284"/>
            <ac:spMk id="4" creationId="{382FC36A-51A0-467C-9CAE-A10F77DA0B33}"/>
          </ac:spMkLst>
        </pc:spChg>
        <pc:picChg chg="add del">
          <ac:chgData name="Thomas Stensitzki" userId="75cafe6b-2f2a-469b-85c4-eec3b9c972ba" providerId="ADAL" clId="{BAD737A7-2F8E-4B82-9225-C1B9CBC54DB5}" dt="2020-11-15T10:52:55.930" v="748" actId="22"/>
          <ac:picMkLst>
            <pc:docMk/>
            <pc:sldMk cId="2726485231" sldId="284"/>
            <ac:picMk id="6" creationId="{E545DB76-BFCE-47B7-8501-6A33178E03D7}"/>
          </ac:picMkLst>
        </pc:picChg>
        <pc:picChg chg="add del mod">
          <ac:chgData name="Thomas Stensitzki" userId="75cafe6b-2f2a-469b-85c4-eec3b9c972ba" providerId="ADAL" clId="{BAD737A7-2F8E-4B82-9225-C1B9CBC54DB5}" dt="2020-11-15T10:53:35.232" v="752" actId="478"/>
          <ac:picMkLst>
            <pc:docMk/>
            <pc:sldMk cId="2726485231" sldId="284"/>
            <ac:picMk id="8" creationId="{B3D45057-C6CD-42E9-BA00-018B3149A788}"/>
          </ac:picMkLst>
        </pc:picChg>
        <pc:picChg chg="add del">
          <ac:chgData name="Thomas Stensitzki" userId="75cafe6b-2f2a-469b-85c4-eec3b9c972ba" providerId="ADAL" clId="{BAD737A7-2F8E-4B82-9225-C1B9CBC54DB5}" dt="2020-11-15T10:53:40.312" v="754" actId="22"/>
          <ac:picMkLst>
            <pc:docMk/>
            <pc:sldMk cId="2726485231" sldId="284"/>
            <ac:picMk id="10" creationId="{FAF9E038-659F-4FB2-BB71-F3ACA7664B1A}"/>
          </ac:picMkLst>
        </pc:picChg>
        <pc:picChg chg="add del mod">
          <ac:chgData name="Thomas Stensitzki" userId="75cafe6b-2f2a-469b-85c4-eec3b9c972ba" providerId="ADAL" clId="{BAD737A7-2F8E-4B82-9225-C1B9CBC54DB5}" dt="2020-11-15T11:13:44.869" v="1321" actId="1076"/>
          <ac:picMkLst>
            <pc:docMk/>
            <pc:sldMk cId="2726485231" sldId="284"/>
            <ac:picMk id="12" creationId="{9FAA32B2-BA7D-48E4-9293-9C6D72FBB96F}"/>
          </ac:picMkLst>
        </pc:picChg>
      </pc:sldChg>
      <pc:sldChg chg="addSp modSp new mod modAnim">
        <pc:chgData name="Thomas Stensitzki" userId="75cafe6b-2f2a-469b-85c4-eec3b9c972ba" providerId="ADAL" clId="{BAD737A7-2F8E-4B82-9225-C1B9CBC54DB5}" dt="2020-11-15T11:10:08.467" v="1271"/>
        <pc:sldMkLst>
          <pc:docMk/>
          <pc:sldMk cId="1572723851" sldId="285"/>
        </pc:sldMkLst>
        <pc:spChg chg="mod">
          <ac:chgData name="Thomas Stensitzki" userId="75cafe6b-2f2a-469b-85c4-eec3b9c972ba" providerId="ADAL" clId="{BAD737A7-2F8E-4B82-9225-C1B9CBC54DB5}" dt="2020-11-15T10:55:59.349" v="849" actId="20577"/>
          <ac:spMkLst>
            <pc:docMk/>
            <pc:sldMk cId="1572723851" sldId="285"/>
            <ac:spMk id="2" creationId="{988D7DC9-3E02-4219-843F-488595267DED}"/>
          </ac:spMkLst>
        </pc:spChg>
        <pc:spChg chg="mod">
          <ac:chgData name="Thomas Stensitzki" userId="75cafe6b-2f2a-469b-85c4-eec3b9c972ba" providerId="ADAL" clId="{BAD737A7-2F8E-4B82-9225-C1B9CBC54DB5}" dt="2020-11-15T11:08:24.507" v="1258" actId="20577"/>
          <ac:spMkLst>
            <pc:docMk/>
            <pc:sldMk cId="1572723851" sldId="285"/>
            <ac:spMk id="3" creationId="{76EC1D6E-0321-4DAA-889D-F932DA5F2EF8}"/>
          </ac:spMkLst>
        </pc:spChg>
        <pc:spChg chg="mod">
          <ac:chgData name="Thomas Stensitzki" userId="75cafe6b-2f2a-469b-85c4-eec3b9c972ba" providerId="ADAL" clId="{BAD737A7-2F8E-4B82-9225-C1B9CBC54DB5}" dt="2020-11-15T10:56:04.978" v="866" actId="20577"/>
          <ac:spMkLst>
            <pc:docMk/>
            <pc:sldMk cId="1572723851" sldId="285"/>
            <ac:spMk id="4" creationId="{11AA0296-D8CB-4E1E-9730-1AA39B9774F4}"/>
          </ac:spMkLst>
        </pc:spChg>
        <pc:picChg chg="add mod">
          <ac:chgData name="Thomas Stensitzki" userId="75cafe6b-2f2a-469b-85c4-eec3b9c972ba" providerId="ADAL" clId="{BAD737A7-2F8E-4B82-9225-C1B9CBC54DB5}" dt="2020-11-15T11:00:48.099" v="956" actId="1076"/>
          <ac:picMkLst>
            <pc:docMk/>
            <pc:sldMk cId="1572723851" sldId="285"/>
            <ac:picMk id="6" creationId="{B2055710-07B5-43BA-BD6F-98374637E644}"/>
          </ac:picMkLst>
        </pc:picChg>
        <pc:picChg chg="add mod">
          <ac:chgData name="Thomas Stensitzki" userId="75cafe6b-2f2a-469b-85c4-eec3b9c972ba" providerId="ADAL" clId="{BAD737A7-2F8E-4B82-9225-C1B9CBC54DB5}" dt="2020-11-15T11:01:11.546" v="965" actId="1076"/>
          <ac:picMkLst>
            <pc:docMk/>
            <pc:sldMk cId="1572723851" sldId="285"/>
            <ac:picMk id="8" creationId="{3D1AF180-A10D-4344-A819-DDCDAEA103A5}"/>
          </ac:picMkLst>
        </pc:picChg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372352202" sldId="287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798640404" sldId="288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648076301" sldId="289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236743347" sldId="290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267273106" sldId="291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343715489" sldId="292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40612848" sldId="293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482369155" sldId="294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106986500" sldId="295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777547647" sldId="296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872566050" sldId="297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97520260" sldId="298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414652390" sldId="299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802208179" sldId="300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778192426" sldId="301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32131475" sldId="302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095028897" sldId="303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277648745" sldId="304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649161575" sldId="305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80988898" sldId="306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319566286" sldId="307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026806507" sldId="308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945895350" sldId="309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88885664" sldId="310"/>
        </pc:sldMkLst>
      </pc:sldChg>
      <pc:sldChg chg="del">
        <pc:chgData name="Thomas Stensitzki" userId="75cafe6b-2f2a-469b-85c4-eec3b9c972ba" providerId="ADAL" clId="{BAD737A7-2F8E-4B82-9225-C1B9CBC54DB5}" dt="2020-11-15T10:33:49.617" v="108" actId="47"/>
        <pc:sldMkLst>
          <pc:docMk/>
          <pc:sldMk cId="277510243" sldId="311"/>
        </pc:sldMkLst>
      </pc:sldChg>
      <pc:sldMasterChg chg="addSp delSp modSp mod setBg modSldLayout">
        <pc:chgData name="Thomas Stensitzki" userId="75cafe6b-2f2a-469b-85c4-eec3b9c972ba" providerId="ADAL" clId="{BAD737A7-2F8E-4B82-9225-C1B9CBC54DB5}" dt="2020-11-15T10:31:30.121" v="42" actId="478"/>
        <pc:sldMasterMkLst>
          <pc:docMk/>
          <pc:sldMasterMk cId="728994055" sldId="2147483696"/>
        </pc:sldMasterMkLst>
        <pc:spChg chg="mod">
          <ac:chgData name="Thomas Stensitzki" userId="75cafe6b-2f2a-469b-85c4-eec3b9c972ba" providerId="ADAL" clId="{BAD737A7-2F8E-4B82-9225-C1B9CBC54DB5}" dt="2020-11-15T10:30:10.432" v="28" actId="207"/>
          <ac:spMkLst>
            <pc:docMk/>
            <pc:sldMasterMk cId="728994055" sldId="2147483696"/>
            <ac:spMk id="2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31:11.189" v="40" actId="207"/>
          <ac:spMkLst>
            <pc:docMk/>
            <pc:sldMasterMk cId="728994055" sldId="2147483696"/>
            <ac:spMk id="9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31:16.267" v="41" actId="207"/>
          <ac:spMkLst>
            <pc:docMk/>
            <pc:sldMasterMk cId="728994055" sldId="2147483696"/>
            <ac:spMk id="10" creationId="{00000000-0000-0000-0000-000000000000}"/>
          </ac:spMkLst>
        </pc:spChg>
        <pc:picChg chg="del">
          <ac:chgData name="Thomas Stensitzki" userId="75cafe6b-2f2a-469b-85c4-eec3b9c972ba" providerId="ADAL" clId="{BAD737A7-2F8E-4B82-9225-C1B9CBC54DB5}" dt="2020-11-15T10:29:15.967" v="23" actId="478"/>
          <ac:picMkLst>
            <pc:docMk/>
            <pc:sldMasterMk cId="728994055" sldId="2147483696"/>
            <ac:picMk id="4" creationId="{00000000-0000-0000-0000-000000000000}"/>
          </ac:picMkLst>
        </pc:picChg>
        <pc:picChg chg="add del">
          <ac:chgData name="Thomas Stensitzki" userId="75cafe6b-2f2a-469b-85c4-eec3b9c972ba" providerId="ADAL" clId="{BAD737A7-2F8E-4B82-9225-C1B9CBC54DB5}" dt="2020-11-15T10:28:23.322" v="18" actId="22"/>
          <ac:picMkLst>
            <pc:docMk/>
            <pc:sldMasterMk cId="728994055" sldId="2147483696"/>
            <ac:picMk id="6" creationId="{98D54FB2-DB15-4B63-8DE5-8780AFB5FF88}"/>
          </ac:picMkLst>
        </pc:picChg>
        <pc:picChg chg="add del mod">
          <ac:chgData name="Thomas Stensitzki" userId="75cafe6b-2f2a-469b-85c4-eec3b9c972ba" providerId="ADAL" clId="{BAD737A7-2F8E-4B82-9225-C1B9CBC54DB5}" dt="2020-11-15T10:29:39.123" v="24" actId="478"/>
          <ac:picMkLst>
            <pc:docMk/>
            <pc:sldMasterMk cId="728994055" sldId="2147483696"/>
            <ac:picMk id="8" creationId="{53896872-25D9-4AED-A0C9-1D4E42BAB9D9}"/>
          </ac:picMkLst>
        </pc:picChg>
        <pc:picChg chg="add mod">
          <ac:chgData name="Thomas Stensitzki" userId="75cafe6b-2f2a-469b-85c4-eec3b9c972ba" providerId="ADAL" clId="{BAD737A7-2F8E-4B82-9225-C1B9CBC54DB5}" dt="2020-11-15T10:29:49.390" v="27" actId="1076"/>
          <ac:picMkLst>
            <pc:docMk/>
            <pc:sldMasterMk cId="728994055" sldId="2147483696"/>
            <ac:picMk id="12" creationId="{2490F61B-A0E7-49E1-AD2A-68B082E28AF9}"/>
          </ac:picMkLst>
        </pc:picChg>
        <pc:sldLayoutChg chg="delSp mod">
          <pc:chgData name="Thomas Stensitzki" userId="75cafe6b-2f2a-469b-85c4-eec3b9c972ba" providerId="ADAL" clId="{BAD737A7-2F8E-4B82-9225-C1B9CBC54DB5}" dt="2020-11-15T10:31:30.121" v="42" actId="478"/>
          <pc:sldLayoutMkLst>
            <pc:docMk/>
            <pc:sldMasterMk cId="728994055" sldId="2147483696"/>
            <pc:sldLayoutMk cId="519253448" sldId="2147483697"/>
          </pc:sldLayoutMkLst>
          <pc:spChg chg="del">
            <ac:chgData name="Thomas Stensitzki" userId="75cafe6b-2f2a-469b-85c4-eec3b9c972ba" providerId="ADAL" clId="{BAD737A7-2F8E-4B82-9225-C1B9CBC54DB5}" dt="2020-11-15T10:31:30.121" v="42" actId="478"/>
            <ac:spMkLst>
              <pc:docMk/>
              <pc:sldMasterMk cId="728994055" sldId="2147483696"/>
              <pc:sldLayoutMk cId="519253448" sldId="2147483697"/>
              <ac:spMk id="8" creationId="{00000000-0000-0000-0000-000000000000}"/>
            </ac:spMkLst>
          </pc:spChg>
        </pc:sldLayoutChg>
      </pc:sldMasterChg>
      <pc:sldMasterChg chg="del delSldLayout">
        <pc:chgData name="Thomas Stensitzki" userId="75cafe6b-2f2a-469b-85c4-eec3b9c972ba" providerId="ADAL" clId="{BAD737A7-2F8E-4B82-9225-C1B9CBC54DB5}" dt="2020-11-15T10:31:47.865" v="45" actId="2696"/>
        <pc:sldMasterMkLst>
          <pc:docMk/>
          <pc:sldMasterMk cId="1723444856" sldId="2147483704"/>
        </pc:sldMasterMkLst>
        <pc:sldLayoutChg chg="del">
          <pc:chgData name="Thomas Stensitzki" userId="75cafe6b-2f2a-469b-85c4-eec3b9c972ba" providerId="ADAL" clId="{BAD737A7-2F8E-4B82-9225-C1B9CBC54DB5}" dt="2020-11-15T10:31:47.859" v="43" actId="2696"/>
          <pc:sldLayoutMkLst>
            <pc:docMk/>
            <pc:sldMasterMk cId="1723444856" sldId="2147483704"/>
            <pc:sldLayoutMk cId="2983961173" sldId="2147483711"/>
          </pc:sldLayoutMkLst>
        </pc:sldLayoutChg>
        <pc:sldLayoutChg chg="del">
          <pc:chgData name="Thomas Stensitzki" userId="75cafe6b-2f2a-469b-85c4-eec3b9c972ba" providerId="ADAL" clId="{BAD737A7-2F8E-4B82-9225-C1B9CBC54DB5}" dt="2020-11-15T10:31:47.862" v="44" actId="2696"/>
          <pc:sldLayoutMkLst>
            <pc:docMk/>
            <pc:sldMasterMk cId="1723444856" sldId="2147483704"/>
            <pc:sldLayoutMk cId="2501628860" sldId="2147483712"/>
          </pc:sldLayoutMkLst>
        </pc:sldLayoutChg>
      </pc:sldMasterChg>
    </pc:docChg>
  </pc:docChgLst>
  <pc:docChgLst>
    <pc:chgData name="Thomas Stensitzki" userId="75cafe6b-2f2a-469b-85c4-eec3b9c972ba" providerId="ADAL" clId="{22364C70-387C-45A5-847B-30BBCAAA38B1}"/>
    <pc:docChg chg="custSel addSld delSld modSld sldOrd addSection delSection modSection">
      <pc:chgData name="Thomas Stensitzki" userId="75cafe6b-2f2a-469b-85c4-eec3b9c972ba" providerId="ADAL" clId="{22364C70-387C-45A5-847B-30BBCAAA38B1}" dt="2020-05-30T11:17:39.608" v="2066" actId="729"/>
      <pc:docMkLst>
        <pc:docMk/>
      </pc:docMkLst>
      <pc:sldChg chg="modSp mod modTransition modNotes">
        <pc:chgData name="Thomas Stensitzki" userId="75cafe6b-2f2a-469b-85c4-eec3b9c972ba" providerId="ADAL" clId="{22364C70-387C-45A5-847B-30BBCAAA38B1}" dt="2020-05-28T15:25:42.527" v="2047" actId="20577"/>
        <pc:sldMkLst>
          <pc:docMk/>
          <pc:sldMk cId="353304963" sldId="256"/>
        </pc:sldMkLst>
        <pc:spChg chg="mod">
          <ac:chgData name="Thomas Stensitzki" userId="75cafe6b-2f2a-469b-85c4-eec3b9c972ba" providerId="ADAL" clId="{22364C70-387C-45A5-847B-30BBCAAA38B1}" dt="2020-05-28T15:25:42.527" v="2047" actId="20577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243" v="1183" actId="790"/>
          <ac:spMkLst>
            <pc:docMk/>
            <pc:sldMk cId="353304963" sldId="256"/>
            <ac:spMk id="3" creationId="{00000000-0000-0000-0000-000000000000}"/>
          </ac:spMkLst>
        </pc:spChg>
      </pc:sldChg>
      <pc:sldChg chg="modSp mod ord modTransition modShow modNotes">
        <pc:chgData name="Thomas Stensitzki" userId="75cafe6b-2f2a-469b-85c4-eec3b9c972ba" providerId="ADAL" clId="{22364C70-387C-45A5-847B-30BBCAAA38B1}" dt="2020-05-30T11:17:39.608" v="2066" actId="729"/>
        <pc:sldMkLst>
          <pc:docMk/>
          <pc:sldMk cId="3986585176" sldId="258"/>
        </pc:sldMkLst>
        <pc:spChg chg="mod">
          <ac:chgData name="Thomas Stensitzki" userId="75cafe6b-2f2a-469b-85c4-eec3b9c972ba" providerId="ADAL" clId="{22364C70-387C-45A5-847B-30BBCAAA38B1}" dt="2020-05-28T09:09:20.320" v="1203" actId="790"/>
          <ac:spMkLst>
            <pc:docMk/>
            <pc:sldMk cId="3986585176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323" v="1204" actId="790"/>
          <ac:spMkLst>
            <pc:docMk/>
            <pc:sldMk cId="3986585176" sldId="258"/>
            <ac:spMk id="3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324" v="1205" actId="790"/>
          <ac:spMkLst>
            <pc:docMk/>
            <pc:sldMk cId="3986585176" sldId="258"/>
            <ac:spMk id="4" creationId="{00000000-0000-0000-0000-000000000000}"/>
          </ac:spMkLst>
        </pc:spChg>
        <pc:picChg chg="mod">
          <ac:chgData name="Thomas Stensitzki" userId="75cafe6b-2f2a-469b-85c4-eec3b9c972ba" providerId="ADAL" clId="{22364C70-387C-45A5-847B-30BBCAAA38B1}" dt="2020-05-27T18:03:20.604" v="27"/>
          <ac:picMkLst>
            <pc:docMk/>
            <pc:sldMk cId="3986585176" sldId="258"/>
            <ac:picMk id="7" creationId="{88F97777-565E-4AA3-9103-8EB7EB31F749}"/>
          </ac:picMkLst>
        </pc:picChg>
      </pc:sldChg>
      <pc:sldChg chg="modSp mod ord modTransition chgLayout modNotes">
        <pc:chgData name="Thomas Stensitzki" userId="75cafe6b-2f2a-469b-85c4-eec3b9c972ba" providerId="ADAL" clId="{22364C70-387C-45A5-847B-30BBCAAA38B1}" dt="2020-05-28T09:09:20.318" v="1202" actId="790"/>
        <pc:sldMkLst>
          <pc:docMk/>
          <pc:sldMk cId="577492687" sldId="259"/>
        </pc:sldMkLst>
        <pc:spChg chg="mod ord">
          <ac:chgData name="Thomas Stensitzki" userId="75cafe6b-2f2a-469b-85c4-eec3b9c972ba" providerId="ADAL" clId="{22364C70-387C-45A5-847B-30BBCAAA38B1}" dt="2020-05-28T09:09:20.312" v="1199" actId="790"/>
          <ac:spMkLst>
            <pc:docMk/>
            <pc:sldMk cId="577492687" sldId="259"/>
            <ac:spMk id="5" creationId="{8DFF3C50-4326-4090-9563-39166FAE160D}"/>
          </ac:spMkLst>
        </pc:spChg>
        <pc:spChg chg="mod ord">
          <ac:chgData name="Thomas Stensitzki" userId="75cafe6b-2f2a-469b-85c4-eec3b9c972ba" providerId="ADAL" clId="{22364C70-387C-45A5-847B-30BBCAAA38B1}" dt="2020-05-28T09:09:20.314" v="1200" actId="790"/>
          <ac:spMkLst>
            <pc:docMk/>
            <pc:sldMk cId="577492687" sldId="259"/>
            <ac:spMk id="6" creationId="{9D5FCE5E-BE6E-4AAA-BFE2-CADDE02D473C}"/>
          </ac:spMkLst>
        </pc:spChg>
      </pc:sldChg>
      <pc:sldChg chg="addSp delSp modSp del mod modTransition modClrScheme modShow chgLayout modNotes">
        <pc:chgData name="Thomas Stensitzki" userId="75cafe6b-2f2a-469b-85c4-eec3b9c972ba" providerId="ADAL" clId="{22364C70-387C-45A5-847B-30BBCAAA38B1}" dt="2020-05-30T11:16:33.629" v="2058" actId="47"/>
        <pc:sldMkLst>
          <pc:docMk/>
          <pc:sldMk cId="28132323" sldId="274"/>
        </pc:sldMkLst>
        <pc:spChg chg="mod ord">
          <ac:chgData name="Thomas Stensitzki" userId="75cafe6b-2f2a-469b-85c4-eec3b9c972ba" providerId="ADAL" clId="{22364C70-387C-45A5-847B-30BBCAAA38B1}" dt="2020-05-28T09:09:20.299" v="1191" actId="790"/>
          <ac:spMkLst>
            <pc:docMk/>
            <pc:sldMk cId="28132323" sldId="274"/>
            <ac:spMk id="2" creationId="{8A16B391-36DA-4FD3-95E3-C45E98AE4755}"/>
          </ac:spMkLst>
        </pc:spChg>
        <pc:spChg chg="add del mod ord">
          <ac:chgData name="Thomas Stensitzki" userId="75cafe6b-2f2a-469b-85c4-eec3b9c972ba" providerId="ADAL" clId="{22364C70-387C-45A5-847B-30BBCAAA38B1}" dt="2020-05-28T08:51:22.853" v="821" actId="700"/>
          <ac:spMkLst>
            <pc:docMk/>
            <pc:sldMk cId="28132323" sldId="274"/>
            <ac:spMk id="3" creationId="{AC3D40F7-F0F1-40B4-8A66-2D2A62BBC9CC}"/>
          </ac:spMkLst>
        </pc:spChg>
        <pc:spChg chg="del mod ord">
          <ac:chgData name="Thomas Stensitzki" userId="75cafe6b-2f2a-469b-85c4-eec3b9c972ba" providerId="ADAL" clId="{22364C70-387C-45A5-847B-30BBCAAA38B1}" dt="2020-05-28T08:49:09.582" v="795" actId="700"/>
          <ac:spMkLst>
            <pc:docMk/>
            <pc:sldMk cId="28132323" sldId="274"/>
            <ac:spMk id="4" creationId="{3CDC1E90-4388-4F8B-B1DC-2DC6C03548A2}"/>
          </ac:spMkLst>
        </pc:spChg>
        <pc:spChg chg="add mod ord">
          <ac:chgData name="Thomas Stensitzki" userId="75cafe6b-2f2a-469b-85c4-eec3b9c972ba" providerId="ADAL" clId="{22364C70-387C-45A5-847B-30BBCAAA38B1}" dt="2020-05-28T09:09:20.300" v="1192" actId="790"/>
          <ac:spMkLst>
            <pc:docMk/>
            <pc:sldMk cId="28132323" sldId="274"/>
            <ac:spMk id="5" creationId="{415EEBCF-37D6-495C-9108-F364302EE9BF}"/>
          </ac:spMkLst>
        </pc:spChg>
      </pc:sldChg>
      <pc:sldChg chg="addSp delSp modSp mod ord modTransition modNotes">
        <pc:chgData name="Thomas Stensitzki" userId="75cafe6b-2f2a-469b-85c4-eec3b9c972ba" providerId="ADAL" clId="{22364C70-387C-45A5-847B-30BBCAAA38B1}" dt="2020-05-28T09:09:20.703" v="1397" actId="790"/>
        <pc:sldMkLst>
          <pc:docMk/>
          <pc:sldMk cId="2855165129" sldId="277"/>
        </pc:sldMkLst>
        <pc:spChg chg="mod">
          <ac:chgData name="Thomas Stensitzki" userId="75cafe6b-2f2a-469b-85c4-eec3b9c972ba" providerId="ADAL" clId="{22364C70-387C-45A5-847B-30BBCAAA38B1}" dt="2020-05-28T09:09:20.696" v="1393"/>
          <ac:spMkLst>
            <pc:docMk/>
            <pc:sldMk cId="2855165129" sldId="277"/>
            <ac:spMk id="2" creationId="{00000000-0000-0000-0000-000000000000}"/>
          </ac:spMkLst>
        </pc:spChg>
        <pc:spChg chg="del">
          <ac:chgData name="Thomas Stensitzki" userId="75cafe6b-2f2a-469b-85c4-eec3b9c972ba" providerId="ADAL" clId="{22364C70-387C-45A5-847B-30BBCAAA38B1}" dt="2020-05-28T08:55:10.753" v="1011" actId="478"/>
          <ac:spMkLst>
            <pc:docMk/>
            <pc:sldMk cId="2855165129" sldId="277"/>
            <ac:spMk id="3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698" v="1394" actId="790"/>
          <ac:spMkLst>
            <pc:docMk/>
            <pc:sldMk cId="2855165129" sldId="277"/>
            <ac:spMk id="4" creationId="{00000000-0000-0000-0000-000000000000}"/>
          </ac:spMkLst>
        </pc:spChg>
        <pc:spChg chg="add del mod">
          <ac:chgData name="Thomas Stensitzki" userId="75cafe6b-2f2a-469b-85c4-eec3b9c972ba" providerId="ADAL" clId="{22364C70-387C-45A5-847B-30BBCAAA38B1}" dt="2020-05-28T08:55:14.579" v="1013" actId="478"/>
          <ac:spMkLst>
            <pc:docMk/>
            <pc:sldMk cId="2855165129" sldId="277"/>
            <ac:spMk id="6" creationId="{BF0892EF-E7AE-44B3-83AF-97D760C82EE6}"/>
          </ac:spMkLst>
        </pc:spChg>
        <pc:spChg chg="mod">
          <ac:chgData name="Thomas Stensitzki" userId="75cafe6b-2f2a-469b-85c4-eec3b9c972ba" providerId="ADAL" clId="{22364C70-387C-45A5-847B-30BBCAAA38B1}" dt="2020-05-28T09:09:20.700" v="1395" actId="790"/>
          <ac:spMkLst>
            <pc:docMk/>
            <pc:sldMk cId="2855165129" sldId="277"/>
            <ac:spMk id="10" creationId="{35918AA5-6F07-4B44-B394-41A89C1E1B39}"/>
          </ac:spMkLst>
        </pc:spChg>
        <pc:picChg chg="del">
          <ac:chgData name="Thomas Stensitzki" userId="75cafe6b-2f2a-469b-85c4-eec3b9c972ba" providerId="ADAL" clId="{22364C70-387C-45A5-847B-30BBCAAA38B1}" dt="2020-05-28T08:55:15.271" v="1014" actId="478"/>
          <ac:picMkLst>
            <pc:docMk/>
            <pc:sldMk cId="2855165129" sldId="277"/>
            <ac:picMk id="7" creationId="{537E3E12-FDDE-4E28-A806-6B41B7F3D8AA}"/>
          </ac:picMkLst>
        </pc:picChg>
        <pc:picChg chg="del">
          <ac:chgData name="Thomas Stensitzki" userId="75cafe6b-2f2a-469b-85c4-eec3b9c972ba" providerId="ADAL" clId="{22364C70-387C-45A5-847B-30BBCAAA38B1}" dt="2020-05-28T08:55:12.533" v="1012" actId="478"/>
          <ac:picMkLst>
            <pc:docMk/>
            <pc:sldMk cId="2855165129" sldId="277"/>
            <ac:picMk id="8" creationId="{A80C8C24-3ADA-4322-B0F2-50CCA426992B}"/>
          </ac:picMkLst>
        </pc:picChg>
        <pc:picChg chg="mod">
          <ac:chgData name="Thomas Stensitzki" userId="75cafe6b-2f2a-469b-85c4-eec3b9c972ba" providerId="ADAL" clId="{22364C70-387C-45A5-847B-30BBCAAA38B1}" dt="2020-05-28T08:55:20.983" v="1015" actId="1076"/>
          <ac:picMkLst>
            <pc:docMk/>
            <pc:sldMk cId="2855165129" sldId="277"/>
            <ac:picMk id="11" creationId="{00000000-0000-0000-0000-000000000000}"/>
          </ac:picMkLst>
        </pc:picChg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2116996515" sldId="278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3916536378" sldId="279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234142031" sldId="280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3270119054" sldId="281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1392728178" sldId="282"/>
        </pc:sldMkLst>
      </pc:sldChg>
      <pc:sldChg chg="addSp modSp mod modTransition modAnim modNotes">
        <pc:chgData name="Thomas Stensitzki" userId="75cafe6b-2f2a-469b-85c4-eec3b9c972ba" providerId="ADAL" clId="{22364C70-387C-45A5-847B-30BBCAAA38B1}" dt="2020-05-28T09:16:56.901" v="1504"/>
        <pc:sldMkLst>
          <pc:docMk/>
          <pc:sldMk cId="1415593282" sldId="283"/>
        </pc:sldMkLst>
        <pc:spChg chg="mod">
          <ac:chgData name="Thomas Stensitzki" userId="75cafe6b-2f2a-469b-85c4-eec3b9c972ba" providerId="ADAL" clId="{22364C70-387C-45A5-847B-30BBCAAA38B1}" dt="2020-05-28T09:09:20.330" v="1208" actId="790"/>
          <ac:spMkLst>
            <pc:docMk/>
            <pc:sldMk cId="1415593282" sldId="283"/>
            <ac:spMk id="4" creationId="{44D18106-10B8-4369-8831-215AC4DFCE51}"/>
          </ac:spMkLst>
        </pc:spChg>
        <pc:spChg chg="mod">
          <ac:chgData name="Thomas Stensitzki" userId="75cafe6b-2f2a-469b-85c4-eec3b9c972ba" providerId="ADAL" clId="{22364C70-387C-45A5-847B-30BBCAAA38B1}" dt="2020-05-28T09:10:16.454" v="1421" actId="255"/>
          <ac:spMkLst>
            <pc:docMk/>
            <pc:sldMk cId="1415593282" sldId="283"/>
            <ac:spMk id="5" creationId="{B27B1AC8-C754-4125-A6B6-50E1270A9279}"/>
          </ac:spMkLst>
        </pc:spChg>
        <pc:spChg chg="mod">
          <ac:chgData name="Thomas Stensitzki" userId="75cafe6b-2f2a-469b-85c4-eec3b9c972ba" providerId="ADAL" clId="{22364C70-387C-45A5-847B-30BBCAAA38B1}" dt="2020-05-28T09:09:20.335" v="1210" actId="790"/>
          <ac:spMkLst>
            <pc:docMk/>
            <pc:sldMk cId="1415593282" sldId="283"/>
            <ac:spMk id="6" creationId="{2A0D12C0-FAC2-4E0B-8157-A3363555BFF4}"/>
          </ac:spMkLst>
        </pc:spChg>
        <pc:spChg chg="add mod">
          <ac:chgData name="Thomas Stensitzki" userId="75cafe6b-2f2a-469b-85c4-eec3b9c972ba" providerId="ADAL" clId="{22364C70-387C-45A5-847B-30BBCAAA38B1}" dt="2020-05-28T09:09:20.335" v="1211"/>
          <ac:spMkLst>
            <pc:docMk/>
            <pc:sldMk cId="1415593282" sldId="283"/>
            <ac:spMk id="7" creationId="{4823761D-A952-48A0-BD41-45E186E894F9}"/>
          </ac:spMkLst>
        </pc:spChg>
        <pc:spChg chg="mod">
          <ac:chgData name="Thomas Stensitzki" userId="75cafe6b-2f2a-469b-85c4-eec3b9c972ba" providerId="ADAL" clId="{22364C70-387C-45A5-847B-30BBCAAA38B1}" dt="2020-05-28T09:09:20.338" v="1212" actId="790"/>
          <ac:spMkLst>
            <pc:docMk/>
            <pc:sldMk cId="1415593282" sldId="283"/>
            <ac:spMk id="12" creationId="{D4B0E1F9-7D65-4F99-B3F1-6F6A6A7E1A50}"/>
          </ac:spMkLst>
        </pc:spChg>
        <pc:spChg chg="mod">
          <ac:chgData name="Thomas Stensitzki" userId="75cafe6b-2f2a-469b-85c4-eec3b9c972ba" providerId="ADAL" clId="{22364C70-387C-45A5-847B-30BBCAAA38B1}" dt="2020-05-28T09:09:20.341" v="1214" actId="790"/>
          <ac:spMkLst>
            <pc:docMk/>
            <pc:sldMk cId="1415593282" sldId="283"/>
            <ac:spMk id="17" creationId="{03AC153F-E791-4AAE-B7DA-CAE04F0CFC58}"/>
          </ac:spMkLst>
        </pc:spChg>
        <pc:spChg chg="mod">
          <ac:chgData name="Thomas Stensitzki" userId="75cafe6b-2f2a-469b-85c4-eec3b9c972ba" providerId="ADAL" clId="{22364C70-387C-45A5-847B-30BBCAAA38B1}" dt="2020-05-28T09:09:20.339" v="1213" actId="790"/>
          <ac:spMkLst>
            <pc:docMk/>
            <pc:sldMk cId="1415593282" sldId="283"/>
            <ac:spMk id="18" creationId="{18F38167-4CD3-4BF9-9CAE-F3FB9B54D3B2}"/>
          </ac:spMkLst>
        </pc:spChg>
        <pc:spChg chg="add mod">
          <ac:chgData name="Thomas Stensitzki" userId="75cafe6b-2f2a-469b-85c4-eec3b9c972ba" providerId="ADAL" clId="{22364C70-387C-45A5-847B-30BBCAAA38B1}" dt="2020-05-28T09:09:20.341" v="1215"/>
          <ac:spMkLst>
            <pc:docMk/>
            <pc:sldMk cId="1415593282" sldId="283"/>
            <ac:spMk id="20" creationId="{CC2D00F1-2DCB-439B-9861-CBD61D5D9E63}"/>
          </ac:spMkLst>
        </pc:spChg>
        <pc:grpChg chg="add mod">
          <ac:chgData name="Thomas Stensitzki" userId="75cafe6b-2f2a-469b-85c4-eec3b9c972ba" providerId="ADAL" clId="{22364C70-387C-45A5-847B-30BBCAAA38B1}" dt="2020-05-27T18:11:47.956" v="295" actId="1076"/>
          <ac:grpSpMkLst>
            <pc:docMk/>
            <pc:sldMk cId="1415593282" sldId="283"/>
            <ac:grpSpMk id="8" creationId="{4221732E-C769-4145-9BE1-8335005F26F1}"/>
          </ac:grpSpMkLst>
        </pc:grpChg>
        <pc:grpChg chg="add mod">
          <ac:chgData name="Thomas Stensitzki" userId="75cafe6b-2f2a-469b-85c4-eec3b9c972ba" providerId="ADAL" clId="{22364C70-387C-45A5-847B-30BBCAAA38B1}" dt="2020-05-27T18:11:47.956" v="295" actId="1076"/>
          <ac:grpSpMkLst>
            <pc:docMk/>
            <pc:sldMk cId="1415593282" sldId="283"/>
            <ac:grpSpMk id="13" creationId="{D0E55A48-C16B-4D23-92B0-6C492716B554}"/>
          </ac:grpSpMkLst>
        </pc:grpChg>
        <pc:grpChg chg="mod">
          <ac:chgData name="Thomas Stensitzki" userId="75cafe6b-2f2a-469b-85c4-eec3b9c972ba" providerId="ADAL" clId="{22364C70-387C-45A5-847B-30BBCAAA38B1}" dt="2020-05-27T18:11:40.617" v="294"/>
          <ac:grpSpMkLst>
            <pc:docMk/>
            <pc:sldMk cId="1415593282" sldId="283"/>
            <ac:grpSpMk id="14" creationId="{10C5C1C0-543D-4622-A2AB-61B4D806B69E}"/>
          </ac:grpSpMkLst>
        </pc:grpChg>
        <pc:grpChg chg="mod">
          <ac:chgData name="Thomas Stensitzki" userId="75cafe6b-2f2a-469b-85c4-eec3b9c972ba" providerId="ADAL" clId="{22364C70-387C-45A5-847B-30BBCAAA38B1}" dt="2020-05-27T18:11:40.617" v="294"/>
          <ac:grpSpMkLst>
            <pc:docMk/>
            <pc:sldMk cId="1415593282" sldId="283"/>
            <ac:grpSpMk id="15" creationId="{C1756D06-24A5-4BCE-9DC7-12BA3AEA3AE6}"/>
          </ac:grpSpMkLst>
        </pc:grp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9" creationId="{BCDC658B-A773-4BB4-AE17-A0492394B6C2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0" creationId="{3B3EE28E-538D-4A99-B0D6-EB1002C076AE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1" creationId="{67E2FD49-7C29-45A4-8925-4FBE4F5FDD4B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6" creationId="{7775C6F9-5F67-4BFD-83A7-C23AFB9C6808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9" creationId="{EF50661E-4CFF-4B4A-B057-F7507C0723FC}"/>
          </ac:picMkLst>
        </pc:picChg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1875455003" sldId="284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3014089621" sldId="285"/>
        </pc:sldMkLst>
      </pc:sldChg>
      <pc:sldChg chg="modSp add del mod ord modTransition modAnim modNotes">
        <pc:chgData name="Thomas Stensitzki" userId="75cafe6b-2f2a-469b-85c4-eec3b9c972ba" providerId="ADAL" clId="{22364C70-387C-45A5-847B-30BBCAAA38B1}" dt="2020-05-30T11:16:33.629" v="2058" actId="47"/>
        <pc:sldMkLst>
          <pc:docMk/>
          <pc:sldMk cId="917612446" sldId="286"/>
        </pc:sldMkLst>
        <pc:spChg chg="mod">
          <ac:chgData name="Thomas Stensitzki" userId="75cafe6b-2f2a-469b-85c4-eec3b9c972ba" providerId="ADAL" clId="{22364C70-387C-45A5-847B-30BBCAAA38B1}" dt="2020-05-28T09:09:20.249" v="1186" actId="790"/>
          <ac:spMkLst>
            <pc:docMk/>
            <pc:sldMk cId="917612446" sldId="286"/>
            <ac:spMk id="4" creationId="{44D18106-10B8-4369-8831-215AC4DFCE51}"/>
          </ac:spMkLst>
        </pc:spChg>
        <pc:spChg chg="mod">
          <ac:chgData name="Thomas Stensitzki" userId="75cafe6b-2f2a-469b-85c4-eec3b9c972ba" providerId="ADAL" clId="{22364C70-387C-45A5-847B-30BBCAAA38B1}" dt="2020-05-28T09:09:20.280" v="1187"/>
          <ac:spMkLst>
            <pc:docMk/>
            <pc:sldMk cId="917612446" sldId="286"/>
            <ac:spMk id="5" creationId="{B27B1AC8-C754-4125-A6B6-50E1270A9279}"/>
          </ac:spMkLst>
        </pc:spChg>
        <pc:spChg chg="mod">
          <ac:chgData name="Thomas Stensitzki" userId="75cafe6b-2f2a-469b-85c4-eec3b9c972ba" providerId="ADAL" clId="{22364C70-387C-45A5-847B-30BBCAAA38B1}" dt="2020-05-28T15:26:00.642" v="2057" actId="20577"/>
          <ac:spMkLst>
            <pc:docMk/>
            <pc:sldMk cId="917612446" sldId="286"/>
            <ac:spMk id="6" creationId="{2A0D12C0-FAC2-4E0B-8157-A3363555BFF4}"/>
          </ac:spMkLst>
        </pc:spChg>
      </pc:sldChg>
      <pc:sldChg chg="modSp new mod modTransition modAnim modNotes">
        <pc:chgData name="Thomas Stensitzki" userId="75cafe6b-2f2a-469b-85c4-eec3b9c972ba" providerId="ADAL" clId="{22364C70-387C-45A5-847B-30BBCAAA38B1}" dt="2020-05-28T09:17:11.213" v="1505"/>
        <pc:sldMkLst>
          <pc:docMk/>
          <pc:sldMk cId="2372352202" sldId="287"/>
        </pc:sldMkLst>
        <pc:spChg chg="mod">
          <ac:chgData name="Thomas Stensitzki" userId="75cafe6b-2f2a-469b-85c4-eec3b9c972ba" providerId="ADAL" clId="{22364C70-387C-45A5-847B-30BBCAAA38B1}" dt="2020-05-28T09:09:20.347" v="1218" actId="790"/>
          <ac:spMkLst>
            <pc:docMk/>
            <pc:sldMk cId="2372352202" sldId="287"/>
            <ac:spMk id="2" creationId="{BA836865-B22C-4CDA-AE4E-5DD0CE34B05B}"/>
          </ac:spMkLst>
        </pc:spChg>
        <pc:spChg chg="mod">
          <ac:chgData name="Thomas Stensitzki" userId="75cafe6b-2f2a-469b-85c4-eec3b9c972ba" providerId="ADAL" clId="{22364C70-387C-45A5-847B-30BBCAAA38B1}" dt="2020-05-28T09:09:20.351" v="1219" actId="790"/>
          <ac:spMkLst>
            <pc:docMk/>
            <pc:sldMk cId="2372352202" sldId="287"/>
            <ac:spMk id="3" creationId="{BAB5C4A6-97FE-45EF-B1C6-5B8267EF1A36}"/>
          </ac:spMkLst>
        </pc:spChg>
        <pc:spChg chg="mod">
          <ac:chgData name="Thomas Stensitzki" userId="75cafe6b-2f2a-469b-85c4-eec3b9c972ba" providerId="ADAL" clId="{22364C70-387C-45A5-847B-30BBCAAA38B1}" dt="2020-05-28T09:09:20.352" v="1220" actId="790"/>
          <ac:spMkLst>
            <pc:docMk/>
            <pc:sldMk cId="2372352202" sldId="287"/>
            <ac:spMk id="4" creationId="{C963F1E9-D48F-4FA4-AA54-A5B7ADB8D0D2}"/>
          </ac:spMkLst>
        </pc:spChg>
      </pc:sldChg>
      <pc:sldChg chg="addSp delSp modSp new mod modTransition modAnim modNotes">
        <pc:chgData name="Thomas Stensitzki" userId="75cafe6b-2f2a-469b-85c4-eec3b9c972ba" providerId="ADAL" clId="{22364C70-387C-45A5-847B-30BBCAAA38B1}" dt="2020-05-28T09:09:20.364" v="1226" actId="790"/>
        <pc:sldMkLst>
          <pc:docMk/>
          <pc:sldMk cId="1798640404" sldId="288"/>
        </pc:sldMkLst>
        <pc:spChg chg="mod">
          <ac:chgData name="Thomas Stensitzki" userId="75cafe6b-2f2a-469b-85c4-eec3b9c972ba" providerId="ADAL" clId="{22364C70-387C-45A5-847B-30BBCAAA38B1}" dt="2020-05-28T09:09:20.359" v="1223" actId="790"/>
          <ac:spMkLst>
            <pc:docMk/>
            <pc:sldMk cId="1798640404" sldId="288"/>
            <ac:spMk id="2" creationId="{5D6F54A9-8FA7-4791-9398-8898273D46C8}"/>
          </ac:spMkLst>
        </pc:spChg>
        <pc:spChg chg="del">
          <ac:chgData name="Thomas Stensitzki" userId="75cafe6b-2f2a-469b-85c4-eec3b9c972ba" providerId="ADAL" clId="{22364C70-387C-45A5-847B-30BBCAAA38B1}" dt="2020-05-27T18:15:23.656" v="353" actId="478"/>
          <ac:spMkLst>
            <pc:docMk/>
            <pc:sldMk cId="1798640404" sldId="288"/>
            <ac:spMk id="3" creationId="{1B211478-A8F8-4C87-BE10-A482BF5A5C24}"/>
          </ac:spMkLst>
        </pc:spChg>
        <pc:spChg chg="mod">
          <ac:chgData name="Thomas Stensitzki" userId="75cafe6b-2f2a-469b-85c4-eec3b9c972ba" providerId="ADAL" clId="{22364C70-387C-45A5-847B-30BBCAAA38B1}" dt="2020-05-28T09:09:20.360" v="1224" actId="790"/>
          <ac:spMkLst>
            <pc:docMk/>
            <pc:sldMk cId="1798640404" sldId="288"/>
            <ac:spMk id="4" creationId="{85F4665D-79B0-4F14-A2A1-69DAB0E8203A}"/>
          </ac:spMkLst>
        </pc:spChg>
        <pc:graphicFrameChg chg="add mod">
          <ac:chgData name="Thomas Stensitzki" userId="75cafe6b-2f2a-469b-85c4-eec3b9c972ba" providerId="ADAL" clId="{22364C70-387C-45A5-847B-30BBCAAA38B1}" dt="2020-05-27T18:15:39.320" v="364" actId="1036"/>
          <ac:graphicFrameMkLst>
            <pc:docMk/>
            <pc:sldMk cId="1798640404" sldId="288"/>
            <ac:graphicFrameMk id="5" creationId="{CFAE5B6C-8DEE-4C8E-958A-DC86AC5F2828}"/>
          </ac:graphicFrameMkLst>
        </pc:graphicFrameChg>
      </pc:sldChg>
      <pc:sldChg chg="addSp modSp new mod modTransition modAnim modNotes">
        <pc:chgData name="Thomas Stensitzki" userId="75cafe6b-2f2a-469b-85c4-eec3b9c972ba" providerId="ADAL" clId="{22364C70-387C-45A5-847B-30BBCAAA38B1}" dt="2020-05-28T09:21:41.554" v="1525"/>
        <pc:sldMkLst>
          <pc:docMk/>
          <pc:sldMk cId="1648076301" sldId="289"/>
        </pc:sldMkLst>
        <pc:spChg chg="mod">
          <ac:chgData name="Thomas Stensitzki" userId="75cafe6b-2f2a-469b-85c4-eec3b9c972ba" providerId="ADAL" clId="{22364C70-387C-45A5-847B-30BBCAAA38B1}" dt="2020-05-28T09:09:20.366" v="1227" actId="790"/>
          <ac:spMkLst>
            <pc:docMk/>
            <pc:sldMk cId="1648076301" sldId="289"/>
            <ac:spMk id="2" creationId="{379A2A2C-6BFB-484E-94D5-88B585472D9E}"/>
          </ac:spMkLst>
        </pc:spChg>
        <pc:spChg chg="mod">
          <ac:chgData name="Thomas Stensitzki" userId="75cafe6b-2f2a-469b-85c4-eec3b9c972ba" providerId="ADAL" clId="{22364C70-387C-45A5-847B-30BBCAAA38B1}" dt="2020-05-28T09:12:20.298" v="1441" actId="255"/>
          <ac:spMkLst>
            <pc:docMk/>
            <pc:sldMk cId="1648076301" sldId="289"/>
            <ac:spMk id="3" creationId="{AA278B8E-FA79-423C-89DB-3767D3FA8EC0}"/>
          </ac:spMkLst>
        </pc:spChg>
        <pc:spChg chg="mod">
          <ac:chgData name="Thomas Stensitzki" userId="75cafe6b-2f2a-469b-85c4-eec3b9c972ba" providerId="ADAL" clId="{22364C70-387C-45A5-847B-30BBCAAA38B1}" dt="2020-05-28T09:09:20.379" v="1229" actId="790"/>
          <ac:spMkLst>
            <pc:docMk/>
            <pc:sldMk cId="1648076301" sldId="289"/>
            <ac:spMk id="4" creationId="{BEC23653-622E-4993-968D-C88A6BB87FD8}"/>
          </ac:spMkLst>
        </pc:spChg>
        <pc:spChg chg="add mod">
          <ac:chgData name="Thomas Stensitzki" userId="75cafe6b-2f2a-469b-85c4-eec3b9c972ba" providerId="ADAL" clId="{22364C70-387C-45A5-847B-30BBCAAA38B1}" dt="2020-05-28T09:09:20.379" v="1230"/>
          <ac:spMkLst>
            <pc:docMk/>
            <pc:sldMk cId="1648076301" sldId="289"/>
            <ac:spMk id="5" creationId="{5AD97F5F-7433-426B-ACF1-EF56D65597A5}"/>
          </ac:spMkLst>
        </pc:spChg>
        <pc:spChg chg="mod">
          <ac:chgData name="Thomas Stensitzki" userId="75cafe6b-2f2a-469b-85c4-eec3b9c972ba" providerId="ADAL" clId="{22364C70-387C-45A5-847B-30BBCAAA38B1}" dt="2020-05-28T09:09:20.381" v="1231" actId="790"/>
          <ac:spMkLst>
            <pc:docMk/>
            <pc:sldMk cId="1648076301" sldId="289"/>
            <ac:spMk id="10" creationId="{B0701D96-4841-4FDE-9C26-6F080BD2712E}"/>
          </ac:spMkLst>
        </pc:spChg>
        <pc:spChg chg="add mod">
          <ac:chgData name="Thomas Stensitzki" userId="75cafe6b-2f2a-469b-85c4-eec3b9c972ba" providerId="ADAL" clId="{22364C70-387C-45A5-847B-30BBCAAA38B1}" dt="2020-05-28T09:09:20.382" v="1232"/>
          <ac:spMkLst>
            <pc:docMk/>
            <pc:sldMk cId="1648076301" sldId="289"/>
            <ac:spMk id="11" creationId="{B95EF020-CC37-4118-B0DD-E36FE8959B44}"/>
          </ac:spMkLst>
        </pc:spChg>
        <pc:spChg chg="add mod">
          <ac:chgData name="Thomas Stensitzki" userId="75cafe6b-2f2a-469b-85c4-eec3b9c972ba" providerId="ADAL" clId="{22364C70-387C-45A5-847B-30BBCAAA38B1}" dt="2020-05-28T09:09:20.382" v="1233"/>
          <ac:spMkLst>
            <pc:docMk/>
            <pc:sldMk cId="1648076301" sldId="289"/>
            <ac:spMk id="13" creationId="{8FABBD3A-1144-489A-8BEB-6F157D6BCE87}"/>
          </ac:spMkLst>
        </pc:spChg>
        <pc:spChg chg="mod">
          <ac:chgData name="Thomas Stensitzki" userId="75cafe6b-2f2a-469b-85c4-eec3b9c972ba" providerId="ADAL" clId="{22364C70-387C-45A5-847B-30BBCAAA38B1}" dt="2020-05-28T09:09:20.384" v="1234" actId="790"/>
          <ac:spMkLst>
            <pc:docMk/>
            <pc:sldMk cId="1648076301" sldId="289"/>
            <ac:spMk id="16" creationId="{841BFD29-7603-4D0B-9B2C-C05588887706}"/>
          </ac:spMkLst>
        </pc:spChg>
        <pc:spChg chg="mod">
          <ac:chgData name="Thomas Stensitzki" userId="75cafe6b-2f2a-469b-85c4-eec3b9c972ba" providerId="ADAL" clId="{22364C70-387C-45A5-847B-30BBCAAA38B1}" dt="2020-05-28T09:09:20.387" v="1236" actId="790"/>
          <ac:spMkLst>
            <pc:docMk/>
            <pc:sldMk cId="1648076301" sldId="289"/>
            <ac:spMk id="19" creationId="{F3FC69AC-3BEE-49C8-8691-619EB4F42C73}"/>
          </ac:spMkLst>
        </pc:spChg>
        <pc:spChg chg="mod">
          <ac:chgData name="Thomas Stensitzki" userId="75cafe6b-2f2a-469b-85c4-eec3b9c972ba" providerId="ADAL" clId="{22364C70-387C-45A5-847B-30BBCAAA38B1}" dt="2020-05-28T09:09:20.385" v="1235" actId="790"/>
          <ac:spMkLst>
            <pc:docMk/>
            <pc:sldMk cId="1648076301" sldId="289"/>
            <ac:spMk id="21" creationId="{846F0694-F457-47BE-8D57-FFA960FD6A95}"/>
          </ac:spMkLst>
        </pc:spChg>
        <pc:spChg chg="add mod">
          <ac:chgData name="Thomas Stensitzki" userId="75cafe6b-2f2a-469b-85c4-eec3b9c972ba" providerId="ADAL" clId="{22364C70-387C-45A5-847B-30BBCAAA38B1}" dt="2020-05-28T09:09:20.387" v="1237"/>
          <ac:spMkLst>
            <pc:docMk/>
            <pc:sldMk cId="1648076301" sldId="289"/>
            <ac:spMk id="26" creationId="{8D6AD24B-26D8-4CAA-BC3E-A98F3D9B0B7F}"/>
          </ac:spMkLst>
        </pc:spChg>
        <pc:spChg chg="add mod">
          <ac:chgData name="Thomas Stensitzki" userId="75cafe6b-2f2a-469b-85c4-eec3b9c972ba" providerId="ADAL" clId="{22364C70-387C-45A5-847B-30BBCAAA38B1}" dt="2020-05-28T09:09:20.388" v="1238"/>
          <ac:spMkLst>
            <pc:docMk/>
            <pc:sldMk cId="1648076301" sldId="289"/>
            <ac:spMk id="31" creationId="{CAED653A-BED9-477D-BF69-6AEF94BF1AB7}"/>
          </ac:spMkLst>
        </pc:spChg>
        <pc:spChg chg="add mod">
          <ac:chgData name="Thomas Stensitzki" userId="75cafe6b-2f2a-469b-85c4-eec3b9c972ba" providerId="ADAL" clId="{22364C70-387C-45A5-847B-30BBCAAA38B1}" dt="2020-05-28T09:09:20.389" v="1239"/>
          <ac:spMkLst>
            <pc:docMk/>
            <pc:sldMk cId="1648076301" sldId="289"/>
            <ac:spMk id="32" creationId="{EBF0EF2A-16DC-46B4-9B6B-D1B613B0A007}"/>
          </ac:spMkLst>
        </pc:spChg>
        <pc:spChg chg="add mod">
          <ac:chgData name="Thomas Stensitzki" userId="75cafe6b-2f2a-469b-85c4-eec3b9c972ba" providerId="ADAL" clId="{22364C70-387C-45A5-847B-30BBCAAA38B1}" dt="2020-05-28T09:09:20.389" v="1240"/>
          <ac:spMkLst>
            <pc:docMk/>
            <pc:sldMk cId="1648076301" sldId="289"/>
            <ac:spMk id="33" creationId="{D9D116BC-CAB3-4226-A468-B6E9EA2109C0}"/>
          </ac:spMkLst>
        </pc:spChg>
        <pc:spChg chg="add mod">
          <ac:chgData name="Thomas Stensitzki" userId="75cafe6b-2f2a-469b-85c4-eec3b9c972ba" providerId="ADAL" clId="{22364C70-387C-45A5-847B-30BBCAAA38B1}" dt="2020-05-28T09:09:20.390" v="1241"/>
          <ac:spMkLst>
            <pc:docMk/>
            <pc:sldMk cId="1648076301" sldId="289"/>
            <ac:spMk id="34" creationId="{443250AF-9F2A-4D1B-B79B-E7B1AFE985A3}"/>
          </ac:spMkLst>
        </pc:spChg>
        <pc:grpChg chg="add mod">
          <ac:chgData name="Thomas Stensitzki" userId="75cafe6b-2f2a-469b-85c4-eec3b9c972ba" providerId="ADAL" clId="{22364C70-387C-45A5-847B-30BBCAAA38B1}" dt="2020-05-27T18:17:02.767" v="473"/>
          <ac:grpSpMkLst>
            <pc:docMk/>
            <pc:sldMk cId="1648076301" sldId="289"/>
            <ac:grpSpMk id="6" creationId="{AECFE1E8-E427-41C5-8C8B-CC74D39E1522}"/>
          </ac:grpSpMkLst>
        </pc:grpChg>
        <pc:grpChg chg="add mod">
          <ac:chgData name="Thomas Stensitzki" userId="75cafe6b-2f2a-469b-85c4-eec3b9c972ba" providerId="ADAL" clId="{22364C70-387C-45A5-847B-30BBCAAA38B1}" dt="2020-05-27T18:17:02.767" v="473"/>
          <ac:grpSpMkLst>
            <pc:docMk/>
            <pc:sldMk cId="1648076301" sldId="289"/>
            <ac:grpSpMk id="15" creationId="{FD711AD3-B6CD-4CBE-AA71-FF7A9D748ABD}"/>
          </ac:grpSpMkLst>
        </pc:grpChg>
        <pc:grpChg chg="mod">
          <ac:chgData name="Thomas Stensitzki" userId="75cafe6b-2f2a-469b-85c4-eec3b9c972ba" providerId="ADAL" clId="{22364C70-387C-45A5-847B-30BBCAAA38B1}" dt="2020-05-27T18:17:02.767" v="473"/>
          <ac:grpSpMkLst>
            <pc:docMk/>
            <pc:sldMk cId="1648076301" sldId="289"/>
            <ac:grpSpMk id="18" creationId="{E4D27777-B587-4FB7-BAB8-C2FDA61F01B2}"/>
          </ac:grpSpMkLst>
        </pc:grp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7" creationId="{5BCA6FD9-3F54-447D-8974-5D13391EFCD5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8" creationId="{04294CA0-1DCB-47E9-A7E0-38F604B07990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9" creationId="{94158670-E3D1-4937-996F-6F1FF4ED37F7}"/>
          </ac:picMkLst>
        </pc:picChg>
        <pc:picChg chg="add 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12" creationId="{60A112AA-981E-4BF7-B9D0-FA6AB79390D1}"/>
          </ac:picMkLst>
        </pc:picChg>
        <pc:picChg chg="add 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14" creationId="{1E8A6C7E-1EF3-4BBE-8D2A-4DA4817B7D99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17" creationId="{217EBE64-FBFC-4477-A53F-C2DF0314405F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20" creationId="{32A4B349-3222-4419-BDE1-7CD7358E7456}"/>
          </ac:picMkLst>
        </pc:picChg>
        <pc:picChg chg="add 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23" creationId="{516C10B1-13D1-4FC8-A8C5-3A92DCA41D80}"/>
          </ac:picMkLst>
        </pc:pic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2" creationId="{F5AC6196-9B22-47CA-AD19-2C5FCD7ACDF0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4" creationId="{1040BA91-2B7B-4DE6-AA46-81AF33C4FA36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5" creationId="{8F28512A-F736-4E97-9AA4-53AC3CA6923E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7" creationId="{2C7F06CC-73BE-47A0-B684-25AAAB5CB66D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8" creationId="{C38621EA-1255-4A63-8A3B-0A1D64AF83F2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9" creationId="{D705A1FD-E183-491F-AA5C-6F99EF63143A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30" creationId="{6230329D-0A8A-4FE9-A06A-A0368EF15BD7}"/>
          </ac:cxnSpMkLst>
        </pc:cxnChg>
      </pc:sldChg>
      <pc:sldChg chg="addSp modSp new mod modTransition modAnim modNotes">
        <pc:chgData name="Thomas Stensitzki" userId="75cafe6b-2f2a-469b-85c4-eec3b9c972ba" providerId="ADAL" clId="{22364C70-387C-45A5-847B-30BBCAAA38B1}" dt="2020-05-28T09:25:47.932" v="1542"/>
        <pc:sldMkLst>
          <pc:docMk/>
          <pc:sldMk cId="3236743347" sldId="290"/>
        </pc:sldMkLst>
        <pc:spChg chg="mod">
          <ac:chgData name="Thomas Stensitzki" userId="75cafe6b-2f2a-469b-85c4-eec3b9c972ba" providerId="ADAL" clId="{22364C70-387C-45A5-847B-30BBCAAA38B1}" dt="2020-05-28T09:09:20.396" v="1244" actId="790"/>
          <ac:spMkLst>
            <pc:docMk/>
            <pc:sldMk cId="3236743347" sldId="290"/>
            <ac:spMk id="2" creationId="{AE40F694-3E8E-494D-BFE5-97F5C7E61B02}"/>
          </ac:spMkLst>
        </pc:spChg>
        <pc:spChg chg="mod">
          <ac:chgData name="Thomas Stensitzki" userId="75cafe6b-2f2a-469b-85c4-eec3b9c972ba" providerId="ADAL" clId="{22364C70-387C-45A5-847B-30BBCAAA38B1}" dt="2020-05-28T09:10:02.504" v="1420" actId="27636"/>
          <ac:spMkLst>
            <pc:docMk/>
            <pc:sldMk cId="3236743347" sldId="290"/>
            <ac:spMk id="3" creationId="{0B48F9B5-FC14-4A58-AE4F-04BED5476273}"/>
          </ac:spMkLst>
        </pc:spChg>
        <pc:spChg chg="mod">
          <ac:chgData name="Thomas Stensitzki" userId="75cafe6b-2f2a-469b-85c4-eec3b9c972ba" providerId="ADAL" clId="{22364C70-387C-45A5-847B-30BBCAAA38B1}" dt="2020-05-28T09:09:20.407" v="1246" actId="790"/>
          <ac:spMkLst>
            <pc:docMk/>
            <pc:sldMk cId="3236743347" sldId="290"/>
            <ac:spMk id="4" creationId="{D6795137-1AD4-4E22-AF7C-929D709E086F}"/>
          </ac:spMkLst>
        </pc:spChg>
        <pc:spChg chg="add mod">
          <ac:chgData name="Thomas Stensitzki" userId="75cafe6b-2f2a-469b-85c4-eec3b9c972ba" providerId="ADAL" clId="{22364C70-387C-45A5-847B-30BBCAAA38B1}" dt="2020-05-28T09:09:20.409" v="1247" actId="790"/>
          <ac:spMkLst>
            <pc:docMk/>
            <pc:sldMk cId="3236743347" sldId="290"/>
            <ac:spMk id="5" creationId="{6496595E-6364-406B-AE64-10321C639668}"/>
          </ac:spMkLst>
        </pc:spChg>
        <pc:spChg chg="add mod">
          <ac:chgData name="Thomas Stensitzki" userId="75cafe6b-2f2a-469b-85c4-eec3b9c972ba" providerId="ADAL" clId="{22364C70-387C-45A5-847B-30BBCAAA38B1}" dt="2020-05-28T09:09:20.409" v="1248"/>
          <ac:spMkLst>
            <pc:docMk/>
            <pc:sldMk cId="3236743347" sldId="290"/>
            <ac:spMk id="6" creationId="{18E2E8CB-AB51-490E-9F05-B09611B8DB10}"/>
          </ac:spMkLst>
        </pc:spChg>
        <pc:spChg chg="add mod">
          <ac:chgData name="Thomas Stensitzki" userId="75cafe6b-2f2a-469b-85c4-eec3b9c972ba" providerId="ADAL" clId="{22364C70-387C-45A5-847B-30BBCAAA38B1}" dt="2020-05-28T09:09:20.410" v="1249"/>
          <ac:spMkLst>
            <pc:docMk/>
            <pc:sldMk cId="3236743347" sldId="290"/>
            <ac:spMk id="8" creationId="{D02EE6BD-751E-4880-8DAB-21161369EB4A}"/>
          </ac:spMkLst>
        </pc:spChg>
        <pc:spChg chg="mod">
          <ac:chgData name="Thomas Stensitzki" userId="75cafe6b-2f2a-469b-85c4-eec3b9c972ba" providerId="ADAL" clId="{22364C70-387C-45A5-847B-30BBCAAA38B1}" dt="2020-05-28T09:09:20.412" v="1250" actId="790"/>
          <ac:spMkLst>
            <pc:docMk/>
            <pc:sldMk cId="3236743347" sldId="290"/>
            <ac:spMk id="10" creationId="{1523D0FF-4C27-4587-85AF-0399A293EDED}"/>
          </ac:spMkLst>
        </pc:spChg>
        <pc:spChg chg="mod">
          <ac:chgData name="Thomas Stensitzki" userId="75cafe6b-2f2a-469b-85c4-eec3b9c972ba" providerId="ADAL" clId="{22364C70-387C-45A5-847B-30BBCAAA38B1}" dt="2020-05-28T09:09:20.414" v="1252" actId="790"/>
          <ac:spMkLst>
            <pc:docMk/>
            <pc:sldMk cId="3236743347" sldId="290"/>
            <ac:spMk id="13" creationId="{73CA03C1-F4BC-4A17-ADC6-696E789B91FF}"/>
          </ac:spMkLst>
        </pc:spChg>
        <pc:spChg chg="mod">
          <ac:chgData name="Thomas Stensitzki" userId="75cafe6b-2f2a-469b-85c4-eec3b9c972ba" providerId="ADAL" clId="{22364C70-387C-45A5-847B-30BBCAAA38B1}" dt="2020-05-28T09:09:20.413" v="1251" actId="790"/>
          <ac:spMkLst>
            <pc:docMk/>
            <pc:sldMk cId="3236743347" sldId="290"/>
            <ac:spMk id="15" creationId="{02E851D7-9341-4907-9D7F-E49A6CA2792D}"/>
          </ac:spMkLst>
        </pc:spChg>
        <pc:spChg chg="add mod">
          <ac:chgData name="Thomas Stensitzki" userId="75cafe6b-2f2a-469b-85c4-eec3b9c972ba" providerId="ADAL" clId="{22364C70-387C-45A5-847B-30BBCAAA38B1}" dt="2020-05-28T09:09:20.415" v="1253"/>
          <ac:spMkLst>
            <pc:docMk/>
            <pc:sldMk cId="3236743347" sldId="290"/>
            <ac:spMk id="19" creationId="{1AF7F1ED-FF2B-48A1-B747-70522CA79317}"/>
          </ac:spMkLst>
        </pc:spChg>
        <pc:spChg chg="mod">
          <ac:chgData name="Thomas Stensitzki" userId="75cafe6b-2f2a-469b-85c4-eec3b9c972ba" providerId="ADAL" clId="{22364C70-387C-45A5-847B-30BBCAAA38B1}" dt="2020-05-28T09:09:20.417" v="1254" actId="790"/>
          <ac:spMkLst>
            <pc:docMk/>
            <pc:sldMk cId="3236743347" sldId="290"/>
            <ac:spMk id="28" creationId="{F9EABFF0-80EA-41BC-8FE0-1942464391CE}"/>
          </ac:spMkLst>
        </pc:spChg>
        <pc:spChg chg="add mod">
          <ac:chgData name="Thomas Stensitzki" userId="75cafe6b-2f2a-469b-85c4-eec3b9c972ba" providerId="ADAL" clId="{22364C70-387C-45A5-847B-30BBCAAA38B1}" dt="2020-05-28T09:09:20.418" v="1255"/>
          <ac:spMkLst>
            <pc:docMk/>
            <pc:sldMk cId="3236743347" sldId="290"/>
            <ac:spMk id="31" creationId="{548AC2B4-1011-455E-AF14-0849E4319C26}"/>
          </ac:spMkLst>
        </pc:spChg>
        <pc:spChg chg="add mod">
          <ac:chgData name="Thomas Stensitzki" userId="75cafe6b-2f2a-469b-85c4-eec3b9c972ba" providerId="ADAL" clId="{22364C70-387C-45A5-847B-30BBCAAA38B1}" dt="2020-05-28T09:09:20.418" v="1256"/>
          <ac:spMkLst>
            <pc:docMk/>
            <pc:sldMk cId="3236743347" sldId="290"/>
            <ac:spMk id="32" creationId="{8F5466EC-384E-47D6-BC55-E8BF915D7DC9}"/>
          </ac:spMkLst>
        </pc:spChg>
        <pc:spChg chg="add mod">
          <ac:chgData name="Thomas Stensitzki" userId="75cafe6b-2f2a-469b-85c4-eec3b9c972ba" providerId="ADAL" clId="{22364C70-387C-45A5-847B-30BBCAAA38B1}" dt="2020-05-28T09:09:20.419" v="1257"/>
          <ac:spMkLst>
            <pc:docMk/>
            <pc:sldMk cId="3236743347" sldId="290"/>
            <ac:spMk id="33" creationId="{25B521AD-0BC4-42FA-951A-AE64E0F6E30C}"/>
          </ac:spMkLst>
        </pc:spChg>
        <pc:spChg chg="add mod">
          <ac:chgData name="Thomas Stensitzki" userId="75cafe6b-2f2a-469b-85c4-eec3b9c972ba" providerId="ADAL" clId="{22364C70-387C-45A5-847B-30BBCAAA38B1}" dt="2020-05-28T09:09:20.420" v="1258"/>
          <ac:spMkLst>
            <pc:docMk/>
            <pc:sldMk cId="3236743347" sldId="290"/>
            <ac:spMk id="34" creationId="{7AB1CA8D-81F5-44E4-BED2-7DA9E65F04A8}"/>
          </ac:spMkLst>
        </pc:spChg>
        <pc:grpChg chg="add mod">
          <ac:chgData name="Thomas Stensitzki" userId="75cafe6b-2f2a-469b-85c4-eec3b9c972ba" providerId="ADAL" clId="{22364C70-387C-45A5-847B-30BBCAAA38B1}" dt="2020-05-27T18:18:08.934" v="478"/>
          <ac:grpSpMkLst>
            <pc:docMk/>
            <pc:sldMk cId="3236743347" sldId="290"/>
            <ac:grpSpMk id="9" creationId="{79E8ACA0-1773-4913-B5B8-A28EA0EE543A}"/>
          </ac:grpSpMkLst>
        </pc:grpChg>
        <pc:grpChg chg="mod">
          <ac:chgData name="Thomas Stensitzki" userId="75cafe6b-2f2a-469b-85c4-eec3b9c972ba" providerId="ADAL" clId="{22364C70-387C-45A5-847B-30BBCAAA38B1}" dt="2020-05-27T18:18:08.934" v="478"/>
          <ac:grpSpMkLst>
            <pc:docMk/>
            <pc:sldMk cId="3236743347" sldId="290"/>
            <ac:grpSpMk id="12" creationId="{E8D724FC-A65A-44D8-BBC3-810F8D7C6A16}"/>
          </ac:grpSpMkLst>
        </pc:grpChg>
        <pc:grpChg chg="add mod">
          <ac:chgData name="Thomas Stensitzki" userId="75cafe6b-2f2a-469b-85c4-eec3b9c972ba" providerId="ADAL" clId="{22364C70-387C-45A5-847B-30BBCAAA38B1}" dt="2020-05-27T18:18:08.934" v="478"/>
          <ac:grpSpMkLst>
            <pc:docMk/>
            <pc:sldMk cId="3236743347" sldId="290"/>
            <ac:grpSpMk id="24" creationId="{24AC9CD1-A078-4939-8191-1504238671FB}"/>
          </ac:grpSpMkLst>
        </pc:grp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7" creationId="{E15838EB-F3F7-41C7-B48E-4F07A44CB085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11" creationId="{DA543C10-086A-4986-AC8F-92E0424D7DD3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14" creationId="{15599BD1-E873-4DDD-BB33-063F6DBCCEE1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17" creationId="{6FD99B96-1C5D-4AFD-B295-509E089881EA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3" creationId="{507EEFFA-E7C2-4B8B-8E32-DDF0DBA4411D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5" creationId="{57BE8F83-1482-4267-ACC3-E205E8C89805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6" creationId="{E2C21C65-40AA-4030-8505-8F1683CCF8CD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7" creationId="{5F0A600C-CC9E-482E-893B-A96F42A458EA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9" creationId="{372E8D16-7ED5-4EF7-8FC7-9F60881DCE0E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30" creationId="{C5FACC11-FB8D-4C24-BEF8-3C23272F96E6}"/>
          </ac:picMkLst>
        </pc:pic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16" creationId="{57FBB3F3-D5DD-4706-A2A3-FADF4A8877FE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18" creationId="{4C924167-4903-40F8-BD30-2B58CAD01A98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20" creationId="{E0B12B94-D2D0-4294-B9E2-77E01E4E9CF5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21" creationId="{2EC2A6D8-C4E0-4001-B884-4BDF035429FE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22" creationId="{AF124951-C2B0-4BBE-BE2F-88A50EBE8473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35" creationId="{79D3DA02-3661-4CF4-A11E-1262FEE02F5F}"/>
          </ac:cxnSpMkLst>
        </pc:cxnChg>
      </pc:sldChg>
      <pc:sldChg chg="addSp delSp modSp new mod modTransition modAnim modNotes">
        <pc:chgData name="Thomas Stensitzki" userId="75cafe6b-2f2a-469b-85c4-eec3b9c972ba" providerId="ADAL" clId="{22364C70-387C-45A5-847B-30BBCAAA38B1}" dt="2020-05-28T09:09:20.456" v="1285" actId="790"/>
        <pc:sldMkLst>
          <pc:docMk/>
          <pc:sldMk cId="4267273106" sldId="291"/>
        </pc:sldMkLst>
        <pc:spChg chg="mod">
          <ac:chgData name="Thomas Stensitzki" userId="75cafe6b-2f2a-469b-85c4-eec3b9c972ba" providerId="ADAL" clId="{22364C70-387C-45A5-847B-30BBCAAA38B1}" dt="2020-05-28T09:09:20.425" v="1261" actId="790"/>
          <ac:spMkLst>
            <pc:docMk/>
            <pc:sldMk cId="4267273106" sldId="291"/>
            <ac:spMk id="2" creationId="{DE1FF78F-5F3B-4F94-92CE-5A6F6C37DEBA}"/>
          </ac:spMkLst>
        </pc:spChg>
        <pc:spChg chg="del">
          <ac:chgData name="Thomas Stensitzki" userId="75cafe6b-2f2a-469b-85c4-eec3b9c972ba" providerId="ADAL" clId="{22364C70-387C-45A5-847B-30BBCAAA38B1}" dt="2020-05-27T18:18:51.015" v="494" actId="478"/>
          <ac:spMkLst>
            <pc:docMk/>
            <pc:sldMk cId="4267273106" sldId="291"/>
            <ac:spMk id="3" creationId="{B5147158-F42D-4BF7-A5E9-5B559BCD6DBC}"/>
          </ac:spMkLst>
        </pc:spChg>
        <pc:spChg chg="mod">
          <ac:chgData name="Thomas Stensitzki" userId="75cafe6b-2f2a-469b-85c4-eec3b9c972ba" providerId="ADAL" clId="{22364C70-387C-45A5-847B-30BBCAAA38B1}" dt="2020-05-28T09:09:20.427" v="1262" actId="790"/>
          <ac:spMkLst>
            <pc:docMk/>
            <pc:sldMk cId="4267273106" sldId="291"/>
            <ac:spMk id="4" creationId="{E5806B09-8E29-4F9C-8C5F-3269D1ED3776}"/>
          </ac:spMkLst>
        </pc:spChg>
        <pc:spChg chg="add mod">
          <ac:chgData name="Thomas Stensitzki" userId="75cafe6b-2f2a-469b-85c4-eec3b9c972ba" providerId="ADAL" clId="{22364C70-387C-45A5-847B-30BBCAAA38B1}" dt="2020-05-28T09:09:20.427" v="1263"/>
          <ac:spMkLst>
            <pc:docMk/>
            <pc:sldMk cId="4267273106" sldId="291"/>
            <ac:spMk id="5" creationId="{38AF8787-D814-4520-883F-7B1EE1EE0201}"/>
          </ac:spMkLst>
        </pc:spChg>
        <pc:spChg chg="mod">
          <ac:chgData name="Thomas Stensitzki" userId="75cafe6b-2f2a-469b-85c4-eec3b9c972ba" providerId="ADAL" clId="{22364C70-387C-45A5-847B-30BBCAAA38B1}" dt="2020-05-28T09:09:20.428" v="1264"/>
          <ac:spMkLst>
            <pc:docMk/>
            <pc:sldMk cId="4267273106" sldId="291"/>
            <ac:spMk id="7" creationId="{8BB8A6C6-CFFF-4AED-888A-C6286C0F6852}"/>
          </ac:spMkLst>
        </pc:spChg>
        <pc:spChg chg="mod">
          <ac:chgData name="Thomas Stensitzki" userId="75cafe6b-2f2a-469b-85c4-eec3b9c972ba" providerId="ADAL" clId="{22364C70-387C-45A5-847B-30BBCAAA38B1}" dt="2020-05-28T09:09:20.428" v="1265"/>
          <ac:spMkLst>
            <pc:docMk/>
            <pc:sldMk cId="4267273106" sldId="291"/>
            <ac:spMk id="8" creationId="{8AF7EF88-5538-420F-964D-221375B75316}"/>
          </ac:spMkLst>
        </pc:spChg>
        <pc:spChg chg="mod">
          <ac:chgData name="Thomas Stensitzki" userId="75cafe6b-2f2a-469b-85c4-eec3b9c972ba" providerId="ADAL" clId="{22364C70-387C-45A5-847B-30BBCAAA38B1}" dt="2020-05-28T09:09:20.429" v="1266"/>
          <ac:spMkLst>
            <pc:docMk/>
            <pc:sldMk cId="4267273106" sldId="291"/>
            <ac:spMk id="9" creationId="{C4E8CF2B-3309-43BD-A766-89D0416E0883}"/>
          </ac:spMkLst>
        </pc:spChg>
        <pc:spChg chg="mod">
          <ac:chgData name="Thomas Stensitzki" userId="75cafe6b-2f2a-469b-85c4-eec3b9c972ba" providerId="ADAL" clId="{22364C70-387C-45A5-847B-30BBCAAA38B1}" dt="2020-05-28T09:09:20.431" v="1267"/>
          <ac:spMkLst>
            <pc:docMk/>
            <pc:sldMk cId="4267273106" sldId="291"/>
            <ac:spMk id="10" creationId="{06B563B0-5121-46C2-9DBD-646BF454EAAD}"/>
          </ac:spMkLst>
        </pc:spChg>
        <pc:spChg chg="mod">
          <ac:chgData name="Thomas Stensitzki" userId="75cafe6b-2f2a-469b-85c4-eec3b9c972ba" providerId="ADAL" clId="{22364C70-387C-45A5-847B-30BBCAAA38B1}" dt="2020-05-28T09:09:20.432" v="1268" actId="790"/>
          <ac:spMkLst>
            <pc:docMk/>
            <pc:sldMk cId="4267273106" sldId="291"/>
            <ac:spMk id="13" creationId="{91FD6E34-59A5-45CB-8509-507500874049}"/>
          </ac:spMkLst>
        </pc:spChg>
        <pc:spChg chg="mod">
          <ac:chgData name="Thomas Stensitzki" userId="75cafe6b-2f2a-469b-85c4-eec3b9c972ba" providerId="ADAL" clId="{22364C70-387C-45A5-847B-30BBCAAA38B1}" dt="2020-05-28T09:09:20.434" v="1269" actId="790"/>
          <ac:spMkLst>
            <pc:docMk/>
            <pc:sldMk cId="4267273106" sldId="291"/>
            <ac:spMk id="14" creationId="{95482601-0135-4ED7-B18B-0C3F002FD96B}"/>
          </ac:spMkLst>
        </pc:spChg>
        <pc:spChg chg="mod">
          <ac:chgData name="Thomas Stensitzki" userId="75cafe6b-2f2a-469b-85c4-eec3b9c972ba" providerId="ADAL" clId="{22364C70-387C-45A5-847B-30BBCAAA38B1}" dt="2020-05-28T09:09:20.435" v="1270"/>
          <ac:spMkLst>
            <pc:docMk/>
            <pc:sldMk cId="4267273106" sldId="291"/>
            <ac:spMk id="15" creationId="{51B46968-A311-486A-A6CD-6164913ECB2D}"/>
          </ac:spMkLst>
        </pc:spChg>
        <pc:spChg chg="mod">
          <ac:chgData name="Thomas Stensitzki" userId="75cafe6b-2f2a-469b-85c4-eec3b9c972ba" providerId="ADAL" clId="{22364C70-387C-45A5-847B-30BBCAAA38B1}" dt="2020-05-28T09:09:20.436" v="1271"/>
          <ac:spMkLst>
            <pc:docMk/>
            <pc:sldMk cId="4267273106" sldId="291"/>
            <ac:spMk id="16" creationId="{CA2F32D7-00DD-4A5F-85E9-0670A3302B44}"/>
          </ac:spMkLst>
        </pc:spChg>
        <pc:spChg chg="mod">
          <ac:chgData name="Thomas Stensitzki" userId="75cafe6b-2f2a-469b-85c4-eec3b9c972ba" providerId="ADAL" clId="{22364C70-387C-45A5-847B-30BBCAAA38B1}" dt="2020-05-28T09:09:20.438" v="1272" actId="790"/>
          <ac:spMkLst>
            <pc:docMk/>
            <pc:sldMk cId="4267273106" sldId="291"/>
            <ac:spMk id="18" creationId="{525D89B2-ABB9-48B1-88A4-297777A615F2}"/>
          </ac:spMkLst>
        </pc:spChg>
        <pc:spChg chg="mod">
          <ac:chgData name="Thomas Stensitzki" userId="75cafe6b-2f2a-469b-85c4-eec3b9c972ba" providerId="ADAL" clId="{22364C70-387C-45A5-847B-30BBCAAA38B1}" dt="2020-05-28T09:09:20.439" v="1273" actId="790"/>
          <ac:spMkLst>
            <pc:docMk/>
            <pc:sldMk cId="4267273106" sldId="291"/>
            <ac:spMk id="19" creationId="{52596889-B028-41D0-AB27-CD980CCFD4D2}"/>
          </ac:spMkLst>
        </pc:spChg>
        <pc:spChg chg="mod">
          <ac:chgData name="Thomas Stensitzki" userId="75cafe6b-2f2a-469b-85c4-eec3b9c972ba" providerId="ADAL" clId="{22364C70-387C-45A5-847B-30BBCAAA38B1}" dt="2020-05-28T09:09:20.441" v="1274" actId="790"/>
          <ac:spMkLst>
            <pc:docMk/>
            <pc:sldMk cId="4267273106" sldId="291"/>
            <ac:spMk id="20" creationId="{5C7887B0-8539-4D66-B7D6-25E8BCAA236A}"/>
          </ac:spMkLst>
        </pc:spChg>
        <pc:spChg chg="mod">
          <ac:chgData name="Thomas Stensitzki" userId="75cafe6b-2f2a-469b-85c4-eec3b9c972ba" providerId="ADAL" clId="{22364C70-387C-45A5-847B-30BBCAAA38B1}" dt="2020-05-28T09:09:20.443" v="1275"/>
          <ac:spMkLst>
            <pc:docMk/>
            <pc:sldMk cId="4267273106" sldId="291"/>
            <ac:spMk id="21" creationId="{6D0778C2-1CD5-42B4-94F6-8392FA98E45F}"/>
          </ac:spMkLst>
        </pc:spChg>
        <pc:spChg chg="mod">
          <ac:chgData name="Thomas Stensitzki" userId="75cafe6b-2f2a-469b-85c4-eec3b9c972ba" providerId="ADAL" clId="{22364C70-387C-45A5-847B-30BBCAAA38B1}" dt="2020-05-28T09:09:20.444" v="1276" actId="790"/>
          <ac:spMkLst>
            <pc:docMk/>
            <pc:sldMk cId="4267273106" sldId="291"/>
            <ac:spMk id="23" creationId="{42148335-5DFE-409D-A461-F43E2789FCB9}"/>
          </ac:spMkLst>
        </pc:spChg>
        <pc:spChg chg="mod">
          <ac:chgData name="Thomas Stensitzki" userId="75cafe6b-2f2a-469b-85c4-eec3b9c972ba" providerId="ADAL" clId="{22364C70-387C-45A5-847B-30BBCAAA38B1}" dt="2020-05-28T09:09:20.445" v="1277" actId="790"/>
          <ac:spMkLst>
            <pc:docMk/>
            <pc:sldMk cId="4267273106" sldId="291"/>
            <ac:spMk id="24" creationId="{1F1B2AD5-43FC-4CCF-B60F-BEF88BF88614}"/>
          </ac:spMkLst>
        </pc:spChg>
        <pc:spChg chg="mod">
          <ac:chgData name="Thomas Stensitzki" userId="75cafe6b-2f2a-469b-85c4-eec3b9c972ba" providerId="ADAL" clId="{22364C70-387C-45A5-847B-30BBCAAA38B1}" dt="2020-05-28T09:09:20.446" v="1278"/>
          <ac:spMkLst>
            <pc:docMk/>
            <pc:sldMk cId="4267273106" sldId="291"/>
            <ac:spMk id="25" creationId="{62B2FE70-8FAF-49A1-85B7-E390C25EC084}"/>
          </ac:spMkLst>
        </pc:spChg>
        <pc:spChg chg="mod">
          <ac:chgData name="Thomas Stensitzki" userId="75cafe6b-2f2a-469b-85c4-eec3b9c972ba" providerId="ADAL" clId="{22364C70-387C-45A5-847B-30BBCAAA38B1}" dt="2020-05-28T09:09:20.448" v="1279"/>
          <ac:spMkLst>
            <pc:docMk/>
            <pc:sldMk cId="4267273106" sldId="291"/>
            <ac:spMk id="26" creationId="{8D67B14A-DD24-4A20-8BE4-21800429D082}"/>
          </ac:spMkLst>
        </pc:spChg>
        <pc:spChg chg="mod">
          <ac:chgData name="Thomas Stensitzki" userId="75cafe6b-2f2a-469b-85c4-eec3b9c972ba" providerId="ADAL" clId="{22364C70-387C-45A5-847B-30BBCAAA38B1}" dt="2020-05-28T09:09:20.449" v="1280"/>
          <ac:spMkLst>
            <pc:docMk/>
            <pc:sldMk cId="4267273106" sldId="291"/>
            <ac:spMk id="29" creationId="{4E4B2D62-96B0-4FD2-ACEC-96686CFE3932}"/>
          </ac:spMkLst>
        </pc:spChg>
        <pc:spChg chg="mod">
          <ac:chgData name="Thomas Stensitzki" userId="75cafe6b-2f2a-469b-85c4-eec3b9c972ba" providerId="ADAL" clId="{22364C70-387C-45A5-847B-30BBCAAA38B1}" dt="2020-05-28T09:09:20.449" v="1281"/>
          <ac:spMkLst>
            <pc:docMk/>
            <pc:sldMk cId="4267273106" sldId="291"/>
            <ac:spMk id="30" creationId="{D6C70E13-B415-4972-8361-B66729ED23DD}"/>
          </ac:spMkLst>
        </pc:spChg>
        <pc:spChg chg="mod">
          <ac:chgData name="Thomas Stensitzki" userId="75cafe6b-2f2a-469b-85c4-eec3b9c972ba" providerId="ADAL" clId="{22364C70-387C-45A5-847B-30BBCAAA38B1}" dt="2020-05-28T09:09:20.450" v="1282"/>
          <ac:spMkLst>
            <pc:docMk/>
            <pc:sldMk cId="4267273106" sldId="291"/>
            <ac:spMk id="31" creationId="{254A2CE4-CD6E-42E7-BC18-9EF60D799B59}"/>
          </ac:spMkLst>
        </pc:spChg>
        <pc:spChg chg="mod">
          <ac:chgData name="Thomas Stensitzki" userId="75cafe6b-2f2a-469b-85c4-eec3b9c972ba" providerId="ADAL" clId="{22364C70-387C-45A5-847B-30BBCAAA38B1}" dt="2020-05-28T09:09:20.452" v="1283"/>
          <ac:spMkLst>
            <pc:docMk/>
            <pc:sldMk cId="4267273106" sldId="291"/>
            <ac:spMk id="32" creationId="{276F9F1E-2559-4B89-88D6-D7F6CBFE5599}"/>
          </ac:spMkLst>
        </pc:s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6" creationId="{4B90AECF-BBE1-4716-B5FC-82F978769521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12" creationId="{45F4227E-2AA5-49B9-B324-F6E9F3BB7953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17" creationId="{A6423EEA-022C-4004-9FC7-352E8515A928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22" creationId="{8421C066-AFF0-411C-A4A8-965CA3967D1A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28" creationId="{C9802D5A-885D-4183-9EAB-0E6F8AFFF75C}"/>
          </ac:grpSpMkLst>
        </pc:grpChg>
        <pc:picChg chg="add mod">
          <ac:chgData name="Thomas Stensitzki" userId="75cafe6b-2f2a-469b-85c4-eec3b9c972ba" providerId="ADAL" clId="{22364C70-387C-45A5-847B-30BBCAAA38B1}" dt="2020-05-27T18:19:16.825" v="548" actId="1036"/>
          <ac:picMkLst>
            <pc:docMk/>
            <pc:sldMk cId="4267273106" sldId="291"/>
            <ac:picMk id="11" creationId="{D92FC127-6FBC-4566-BC5E-12A73F0E3220}"/>
          </ac:picMkLst>
        </pc:picChg>
        <pc:picChg chg="add mod">
          <ac:chgData name="Thomas Stensitzki" userId="75cafe6b-2f2a-469b-85c4-eec3b9c972ba" providerId="ADAL" clId="{22364C70-387C-45A5-847B-30BBCAAA38B1}" dt="2020-05-27T18:19:16.825" v="548" actId="1036"/>
          <ac:picMkLst>
            <pc:docMk/>
            <pc:sldMk cId="4267273106" sldId="291"/>
            <ac:picMk id="27" creationId="{CA250860-9F27-4901-9C3A-EAAE20963B6E}"/>
          </ac:picMkLst>
        </pc:picChg>
      </pc:sldChg>
      <pc:sldChg chg="modSp new mod modTransition modAnim modNotes">
        <pc:chgData name="Thomas Stensitzki" userId="75cafe6b-2f2a-469b-85c4-eec3b9c972ba" providerId="ADAL" clId="{22364C70-387C-45A5-847B-30BBCAAA38B1}" dt="2020-05-28T09:26:24.947" v="1543"/>
        <pc:sldMkLst>
          <pc:docMk/>
          <pc:sldMk cId="2343715489" sldId="292"/>
        </pc:sldMkLst>
        <pc:spChg chg="mod">
          <ac:chgData name="Thomas Stensitzki" userId="75cafe6b-2f2a-469b-85c4-eec3b9c972ba" providerId="ADAL" clId="{22364C70-387C-45A5-847B-30BBCAAA38B1}" dt="2020-05-28T09:09:20.465" v="1290" actId="790"/>
          <ac:spMkLst>
            <pc:docMk/>
            <pc:sldMk cId="2343715489" sldId="292"/>
            <ac:spMk id="2" creationId="{95CDE0FD-A618-4174-8BA7-089A16C3937F}"/>
          </ac:spMkLst>
        </pc:spChg>
        <pc:spChg chg="mod">
          <ac:chgData name="Thomas Stensitzki" userId="75cafe6b-2f2a-469b-85c4-eec3b9c972ba" providerId="ADAL" clId="{22364C70-387C-45A5-847B-30BBCAAA38B1}" dt="2020-05-28T09:13:04.510" v="1445" actId="255"/>
          <ac:spMkLst>
            <pc:docMk/>
            <pc:sldMk cId="2343715489" sldId="292"/>
            <ac:spMk id="3" creationId="{1C21D8E3-27E6-4915-A1C8-A14F0C30F52C}"/>
          </ac:spMkLst>
        </pc:spChg>
        <pc:spChg chg="mod">
          <ac:chgData name="Thomas Stensitzki" userId="75cafe6b-2f2a-469b-85c4-eec3b9c972ba" providerId="ADAL" clId="{22364C70-387C-45A5-847B-30BBCAAA38B1}" dt="2020-05-28T09:09:20.480" v="1292" actId="790"/>
          <ac:spMkLst>
            <pc:docMk/>
            <pc:sldMk cId="2343715489" sldId="292"/>
            <ac:spMk id="4" creationId="{AC35C222-78E1-4A2D-AA99-25A92A2BDC77}"/>
          </ac:spMkLst>
        </pc:spChg>
      </pc:sldChg>
      <pc:sldChg chg="modSp add mod ord modTransition modNotes">
        <pc:chgData name="Thomas Stensitzki" userId="75cafe6b-2f2a-469b-85c4-eec3b9c972ba" providerId="ADAL" clId="{22364C70-387C-45A5-847B-30BBCAAA38B1}" dt="2020-05-28T09:09:20.463" v="1289" actId="790"/>
        <pc:sldMkLst>
          <pc:docMk/>
          <pc:sldMk cId="440612848" sldId="293"/>
        </pc:sldMkLst>
        <pc:spChg chg="mod">
          <ac:chgData name="Thomas Stensitzki" userId="75cafe6b-2f2a-469b-85c4-eec3b9c972ba" providerId="ADAL" clId="{22364C70-387C-45A5-847B-30BBCAAA38B1}" dt="2020-05-28T09:09:20.457" v="1286" actId="790"/>
          <ac:spMkLst>
            <pc:docMk/>
            <pc:sldMk cId="440612848" sldId="293"/>
            <ac:spMk id="5" creationId="{8DFF3C50-4326-4090-9563-39166FAE160D}"/>
          </ac:spMkLst>
        </pc:spChg>
        <pc:spChg chg="mod">
          <ac:chgData name="Thomas Stensitzki" userId="75cafe6b-2f2a-469b-85c4-eec3b9c972ba" providerId="ADAL" clId="{22364C70-387C-45A5-847B-30BBCAAA38B1}" dt="2020-05-28T09:09:20.460" v="1287" actId="790"/>
          <ac:spMkLst>
            <pc:docMk/>
            <pc:sldMk cId="440612848" sldId="293"/>
            <ac:spMk id="6" creationId="{9D5FCE5E-BE6E-4AAA-BFE2-CADDE02D473C}"/>
          </ac:spMkLst>
        </pc:spChg>
      </pc:sldChg>
      <pc:sldChg chg="modSp new mod modTransition modAnim modNotes">
        <pc:chgData name="Thomas Stensitzki" userId="75cafe6b-2f2a-469b-85c4-eec3b9c972ba" providerId="ADAL" clId="{22364C70-387C-45A5-847B-30BBCAAA38B1}" dt="2020-05-28T09:27:10.653" v="1589" actId="20577"/>
        <pc:sldMkLst>
          <pc:docMk/>
          <pc:sldMk cId="2482369155" sldId="294"/>
        </pc:sldMkLst>
        <pc:spChg chg="mod">
          <ac:chgData name="Thomas Stensitzki" userId="75cafe6b-2f2a-469b-85c4-eec3b9c972ba" providerId="ADAL" clId="{22364C70-387C-45A5-847B-30BBCAAA38B1}" dt="2020-05-28T09:09:20.485" v="1295" actId="790"/>
          <ac:spMkLst>
            <pc:docMk/>
            <pc:sldMk cId="2482369155" sldId="294"/>
            <ac:spMk id="2" creationId="{F41BA89F-D43B-4976-8190-FFFB9BE99C09}"/>
          </ac:spMkLst>
        </pc:spChg>
        <pc:spChg chg="mod">
          <ac:chgData name="Thomas Stensitzki" userId="75cafe6b-2f2a-469b-85c4-eec3b9c972ba" providerId="ADAL" clId="{22364C70-387C-45A5-847B-30BBCAAA38B1}" dt="2020-05-28T09:27:10.653" v="1589" actId="20577"/>
          <ac:spMkLst>
            <pc:docMk/>
            <pc:sldMk cId="2482369155" sldId="294"/>
            <ac:spMk id="3" creationId="{D5B50892-1850-426D-B87D-0E542FD247B1}"/>
          </ac:spMkLst>
        </pc:spChg>
        <pc:spChg chg="mod">
          <ac:chgData name="Thomas Stensitzki" userId="75cafe6b-2f2a-469b-85c4-eec3b9c972ba" providerId="ADAL" clId="{22364C70-387C-45A5-847B-30BBCAAA38B1}" dt="2020-05-28T09:09:20.495" v="1297" actId="790"/>
          <ac:spMkLst>
            <pc:docMk/>
            <pc:sldMk cId="2482369155" sldId="294"/>
            <ac:spMk id="4" creationId="{FB48AFA5-3790-4398-948F-1E102AD5652A}"/>
          </ac:spMkLst>
        </pc:spChg>
      </pc:sldChg>
      <pc:sldChg chg="modSp add mod ord modTransition modNotes">
        <pc:chgData name="Thomas Stensitzki" userId="75cafe6b-2f2a-469b-85c4-eec3b9c972ba" providerId="ADAL" clId="{22364C70-387C-45A5-847B-30BBCAAA38B1}" dt="2020-05-28T09:09:20.505" v="1303" actId="790"/>
        <pc:sldMkLst>
          <pc:docMk/>
          <pc:sldMk cId="4106986500" sldId="295"/>
        </pc:sldMkLst>
        <pc:spChg chg="mod">
          <ac:chgData name="Thomas Stensitzki" userId="75cafe6b-2f2a-469b-85c4-eec3b9c972ba" providerId="ADAL" clId="{22364C70-387C-45A5-847B-30BBCAAA38B1}" dt="2020-05-28T09:09:20.500" v="1300" actId="790"/>
          <ac:spMkLst>
            <pc:docMk/>
            <pc:sldMk cId="4106986500" sldId="295"/>
            <ac:spMk id="5" creationId="{8DFF3C50-4326-4090-9563-39166FAE160D}"/>
          </ac:spMkLst>
        </pc:spChg>
        <pc:spChg chg="mod">
          <ac:chgData name="Thomas Stensitzki" userId="75cafe6b-2f2a-469b-85c4-eec3b9c972ba" providerId="ADAL" clId="{22364C70-387C-45A5-847B-30BBCAAA38B1}" dt="2020-05-28T09:09:20.502" v="1301" actId="790"/>
          <ac:spMkLst>
            <pc:docMk/>
            <pc:sldMk cId="4106986500" sldId="295"/>
            <ac:spMk id="6" creationId="{9D5FCE5E-BE6E-4AAA-BFE2-CADDE02D473C}"/>
          </ac:spMkLst>
        </pc:spChg>
      </pc:sldChg>
      <pc:sldChg chg="new del">
        <pc:chgData name="Thomas Stensitzki" userId="75cafe6b-2f2a-469b-85c4-eec3b9c972ba" providerId="ADAL" clId="{22364C70-387C-45A5-847B-30BBCAAA38B1}" dt="2020-05-27T18:23:02.208" v="596" actId="2696"/>
        <pc:sldMkLst>
          <pc:docMk/>
          <pc:sldMk cId="1781890710" sldId="296"/>
        </pc:sldMkLst>
      </pc:sldChg>
      <pc:sldChg chg="modSp add mod modTransition modAnim modNotes">
        <pc:chgData name="Thomas Stensitzki" userId="75cafe6b-2f2a-469b-85c4-eec3b9c972ba" providerId="ADAL" clId="{22364C70-387C-45A5-847B-30BBCAAA38B1}" dt="2020-05-28T09:38:51.980" v="1932" actId="20577"/>
        <pc:sldMkLst>
          <pc:docMk/>
          <pc:sldMk cId="2777547647" sldId="296"/>
        </pc:sldMkLst>
        <pc:spChg chg="mod">
          <ac:chgData name="Thomas Stensitzki" userId="75cafe6b-2f2a-469b-85c4-eec3b9c972ba" providerId="ADAL" clId="{22364C70-387C-45A5-847B-30BBCAAA38B1}" dt="2020-05-28T09:09:20.507" v="1304" actId="790"/>
          <ac:spMkLst>
            <pc:docMk/>
            <pc:sldMk cId="2777547647" sldId="296"/>
            <ac:spMk id="2" creationId="{F41BA89F-D43B-4976-8190-FFFB9BE99C09}"/>
          </ac:spMkLst>
        </pc:spChg>
        <pc:spChg chg="mod">
          <ac:chgData name="Thomas Stensitzki" userId="75cafe6b-2f2a-469b-85c4-eec3b9c972ba" providerId="ADAL" clId="{22364C70-387C-45A5-847B-30BBCAAA38B1}" dt="2020-05-28T09:38:51.980" v="1932" actId="20577"/>
          <ac:spMkLst>
            <pc:docMk/>
            <pc:sldMk cId="2777547647" sldId="296"/>
            <ac:spMk id="3" creationId="{D5B50892-1850-426D-B87D-0E542FD247B1}"/>
          </ac:spMkLst>
        </pc:spChg>
        <pc:spChg chg="mod">
          <ac:chgData name="Thomas Stensitzki" userId="75cafe6b-2f2a-469b-85c4-eec3b9c972ba" providerId="ADAL" clId="{22364C70-387C-45A5-847B-30BBCAAA38B1}" dt="2020-05-28T09:09:20.512" v="1306" actId="790"/>
          <ac:spMkLst>
            <pc:docMk/>
            <pc:sldMk cId="2777547647" sldId="296"/>
            <ac:spMk id="4" creationId="{FB48AFA5-3790-4398-948F-1E102AD5652A}"/>
          </ac:spMkLst>
        </pc:spChg>
      </pc:sldChg>
      <pc:sldChg chg="modSp new mod modTransition modAnim modNotes">
        <pc:chgData name="Thomas Stensitzki" userId="75cafe6b-2f2a-469b-85c4-eec3b9c972ba" providerId="ADAL" clId="{22364C70-387C-45A5-847B-30BBCAAA38B1}" dt="2020-05-28T09:27:34.778" v="1592"/>
        <pc:sldMkLst>
          <pc:docMk/>
          <pc:sldMk cId="2872566050" sldId="297"/>
        </pc:sldMkLst>
        <pc:spChg chg="mod">
          <ac:chgData name="Thomas Stensitzki" userId="75cafe6b-2f2a-469b-85c4-eec3b9c972ba" providerId="ADAL" clId="{22364C70-387C-45A5-847B-30BBCAAA38B1}" dt="2020-05-28T09:09:20.518" v="1309" actId="790"/>
          <ac:spMkLst>
            <pc:docMk/>
            <pc:sldMk cId="2872566050" sldId="297"/>
            <ac:spMk id="2" creationId="{E02D4116-1B6E-4150-AEC3-6553011392C2}"/>
          </ac:spMkLst>
        </pc:spChg>
        <pc:spChg chg="mod">
          <ac:chgData name="Thomas Stensitzki" userId="75cafe6b-2f2a-469b-85c4-eec3b9c972ba" providerId="ADAL" clId="{22364C70-387C-45A5-847B-30BBCAAA38B1}" dt="2020-05-28T09:14:37.538" v="1456" actId="255"/>
          <ac:spMkLst>
            <pc:docMk/>
            <pc:sldMk cId="2872566050" sldId="297"/>
            <ac:spMk id="3" creationId="{1D6A2D4E-025F-4425-AE0B-CA677DB9614E}"/>
          </ac:spMkLst>
        </pc:spChg>
        <pc:spChg chg="mod">
          <ac:chgData name="Thomas Stensitzki" userId="75cafe6b-2f2a-469b-85c4-eec3b9c972ba" providerId="ADAL" clId="{22364C70-387C-45A5-847B-30BBCAAA38B1}" dt="2020-05-28T09:09:20.531" v="1311" actId="790"/>
          <ac:spMkLst>
            <pc:docMk/>
            <pc:sldMk cId="2872566050" sldId="297"/>
            <ac:spMk id="4" creationId="{669CC95A-D3D0-4599-9C2E-9C1DE79B38A3}"/>
          </ac:spMkLst>
        </pc:spChg>
      </pc:sldChg>
      <pc:sldChg chg="addSp delSp modSp new mod modTransition modClrScheme modAnim chgLayout modNotes">
        <pc:chgData name="Thomas Stensitzki" userId="75cafe6b-2f2a-469b-85c4-eec3b9c972ba" providerId="ADAL" clId="{22364C70-387C-45A5-847B-30BBCAAA38B1}" dt="2020-05-28T09:28:01.086" v="1596"/>
        <pc:sldMkLst>
          <pc:docMk/>
          <pc:sldMk cId="197520260" sldId="298"/>
        </pc:sldMkLst>
        <pc:spChg chg="del mod ord">
          <ac:chgData name="Thomas Stensitzki" userId="75cafe6b-2f2a-469b-85c4-eec3b9c972ba" providerId="ADAL" clId="{22364C70-387C-45A5-847B-30BBCAAA38B1}" dt="2020-05-27T18:29:01.680" v="674" actId="700"/>
          <ac:spMkLst>
            <pc:docMk/>
            <pc:sldMk cId="197520260" sldId="298"/>
            <ac:spMk id="2" creationId="{A7A3C98B-1999-49C8-95A8-BC4E5E2172C7}"/>
          </ac:spMkLst>
        </pc:spChg>
        <pc:spChg chg="del mod ord">
          <ac:chgData name="Thomas Stensitzki" userId="75cafe6b-2f2a-469b-85c4-eec3b9c972ba" providerId="ADAL" clId="{22364C70-387C-45A5-847B-30BBCAAA38B1}" dt="2020-05-27T18:29:01.680" v="674" actId="700"/>
          <ac:spMkLst>
            <pc:docMk/>
            <pc:sldMk cId="197520260" sldId="298"/>
            <ac:spMk id="3" creationId="{FAB0B7EA-7EC9-40B3-A8FD-EABA2FEC5E77}"/>
          </ac:spMkLst>
        </pc:spChg>
        <pc:spChg chg="del mod ord">
          <ac:chgData name="Thomas Stensitzki" userId="75cafe6b-2f2a-469b-85c4-eec3b9c972ba" providerId="ADAL" clId="{22364C70-387C-45A5-847B-30BBCAAA38B1}" dt="2020-05-27T18:29:01.680" v="674" actId="700"/>
          <ac:spMkLst>
            <pc:docMk/>
            <pc:sldMk cId="197520260" sldId="298"/>
            <ac:spMk id="4" creationId="{2B0F516D-707C-41D5-AFE2-825C94DEAE74}"/>
          </ac:spMkLst>
        </pc:spChg>
        <pc:spChg chg="add del mod">
          <ac:chgData name="Thomas Stensitzki" userId="75cafe6b-2f2a-469b-85c4-eec3b9c972ba" providerId="ADAL" clId="{22364C70-387C-45A5-847B-30BBCAAA38B1}" dt="2020-05-27T18:28:47.041" v="673" actId="478"/>
          <ac:spMkLst>
            <pc:docMk/>
            <pc:sldMk cId="197520260" sldId="298"/>
            <ac:spMk id="5" creationId="{91C7CB9B-AF22-4412-9A1E-FFC0C8F67FD3}"/>
          </ac:spMkLst>
        </pc:spChg>
        <pc:spChg chg="add mod ord">
          <ac:chgData name="Thomas Stensitzki" userId="75cafe6b-2f2a-469b-85c4-eec3b9c972ba" providerId="ADAL" clId="{22364C70-387C-45A5-847B-30BBCAAA38B1}" dt="2020-05-28T09:14:53.121" v="1484" actId="20577"/>
          <ac:spMkLst>
            <pc:docMk/>
            <pc:sldMk cId="197520260" sldId="298"/>
            <ac:spMk id="6" creationId="{676668A4-D127-49B6-8A1B-9EE768C8C23A}"/>
          </ac:spMkLst>
        </pc:spChg>
        <pc:spChg chg="add mod ord">
          <ac:chgData name="Thomas Stensitzki" userId="75cafe6b-2f2a-469b-85c4-eec3b9c972ba" providerId="ADAL" clId="{22364C70-387C-45A5-847B-30BBCAAA38B1}" dt="2020-05-28T09:15:52.769" v="1499" actId="5793"/>
          <ac:spMkLst>
            <pc:docMk/>
            <pc:sldMk cId="197520260" sldId="298"/>
            <ac:spMk id="7" creationId="{236E7461-A3E2-45C3-BB0F-61E69B821D08}"/>
          </ac:spMkLst>
        </pc:spChg>
        <pc:spChg chg="add del mod ord">
          <ac:chgData name="Thomas Stensitzki" userId="75cafe6b-2f2a-469b-85c4-eec3b9c972ba" providerId="ADAL" clId="{22364C70-387C-45A5-847B-30BBCAAA38B1}" dt="2020-05-27T18:29:11.752" v="677" actId="478"/>
          <ac:spMkLst>
            <pc:docMk/>
            <pc:sldMk cId="197520260" sldId="298"/>
            <ac:spMk id="8" creationId="{722B2EC5-9B9B-4CAC-9D1B-EDBF34C54BEC}"/>
          </ac:spMkLst>
        </pc:spChg>
        <pc:spChg chg="add mod ord">
          <ac:chgData name="Thomas Stensitzki" userId="75cafe6b-2f2a-469b-85c4-eec3b9c972ba" providerId="ADAL" clId="{22364C70-387C-45A5-847B-30BBCAAA38B1}" dt="2020-05-28T09:09:20.540" v="1316" actId="790"/>
          <ac:spMkLst>
            <pc:docMk/>
            <pc:sldMk cId="197520260" sldId="298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41" v="1317"/>
          <ac:spMkLst>
            <pc:docMk/>
            <pc:sldMk cId="197520260" sldId="298"/>
            <ac:spMk id="11" creationId="{C97695D8-ADA4-43AD-BDCD-420B6D74A455}"/>
          </ac:spMkLst>
        </pc:spChg>
        <pc:picChg chg="add mod">
          <ac:chgData name="Thomas Stensitzki" userId="75cafe6b-2f2a-469b-85c4-eec3b9c972ba" providerId="ADAL" clId="{22364C70-387C-45A5-847B-30BBCAAA38B1}" dt="2020-05-27T18:29:35.165" v="679"/>
          <ac:picMkLst>
            <pc:docMk/>
            <pc:sldMk cId="197520260" sldId="298"/>
            <ac:picMk id="10" creationId="{83C66DCB-D02D-4510-A966-33B51FA25C58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29:21.135" v="1640" actId="20577"/>
        <pc:sldMkLst>
          <pc:docMk/>
          <pc:sldMk cId="2414652390" sldId="299"/>
        </pc:sldMkLst>
        <pc:spChg chg="mod">
          <ac:chgData name="Thomas Stensitzki" userId="75cafe6b-2f2a-469b-85c4-eec3b9c972ba" providerId="ADAL" clId="{22364C70-387C-45A5-847B-30BBCAAA38B1}" dt="2020-05-28T09:09:20.546" v="1320" actId="790"/>
          <ac:spMkLst>
            <pc:docMk/>
            <pc:sldMk cId="2414652390" sldId="299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15:19.752" v="1495" actId="20577"/>
          <ac:spMkLst>
            <pc:docMk/>
            <pc:sldMk cId="2414652390" sldId="299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29:21.135" v="1640" actId="20577"/>
          <ac:spMkLst>
            <pc:docMk/>
            <pc:sldMk cId="2414652390" sldId="299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29:51.717" v="681" actId="478"/>
          <ac:spMkLst>
            <pc:docMk/>
            <pc:sldMk cId="2414652390" sldId="299"/>
            <ac:spMk id="11" creationId="{C97695D8-ADA4-43AD-BDCD-420B6D74A455}"/>
          </ac:spMkLst>
        </pc:spChg>
        <pc:spChg chg="add mod">
          <ac:chgData name="Thomas Stensitzki" userId="75cafe6b-2f2a-469b-85c4-eec3b9c972ba" providerId="ADAL" clId="{22364C70-387C-45A5-847B-30BBCAAA38B1}" dt="2020-05-28T09:09:20.550" v="1323"/>
          <ac:spMkLst>
            <pc:docMk/>
            <pc:sldMk cId="2414652390" sldId="299"/>
            <ac:spMk id="12" creationId="{9521BB9A-0A56-4C46-A366-9586B8744DB2}"/>
          </ac:spMkLst>
        </pc:spChg>
        <pc:picChg chg="add mod">
          <ac:chgData name="Thomas Stensitzki" userId="75cafe6b-2f2a-469b-85c4-eec3b9c972ba" providerId="ADAL" clId="{22364C70-387C-45A5-847B-30BBCAAA38B1}" dt="2020-05-27T18:30:11.724" v="683"/>
          <ac:picMkLst>
            <pc:docMk/>
            <pc:sldMk cId="2414652390" sldId="299"/>
            <ac:picMk id="8" creationId="{2B844934-27D2-437A-A79A-12D367CD6A00}"/>
          </ac:picMkLst>
        </pc:picChg>
        <pc:picChg chg="del">
          <ac:chgData name="Thomas Stensitzki" userId="75cafe6b-2f2a-469b-85c4-eec3b9c972ba" providerId="ADAL" clId="{22364C70-387C-45A5-847B-30BBCAAA38B1}" dt="2020-05-27T18:29:51.717" v="681" actId="478"/>
          <ac:picMkLst>
            <pc:docMk/>
            <pc:sldMk cId="2414652390" sldId="299"/>
            <ac:picMk id="10" creationId="{83C66DCB-D02D-4510-A966-33B51FA25C58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0:27.019" v="1682"/>
        <pc:sldMkLst>
          <pc:docMk/>
          <pc:sldMk cId="3802208179" sldId="300"/>
        </pc:sldMkLst>
        <pc:spChg chg="mod">
          <ac:chgData name="Thomas Stensitzki" userId="75cafe6b-2f2a-469b-85c4-eec3b9c972ba" providerId="ADAL" clId="{22364C70-387C-45A5-847B-30BBCAAA38B1}" dt="2020-05-28T09:09:20.556" v="1326" actId="790"/>
          <ac:spMkLst>
            <pc:docMk/>
            <pc:sldMk cId="3802208179" sldId="300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15:41.776" v="1496" actId="20577"/>
          <ac:spMkLst>
            <pc:docMk/>
            <pc:sldMk cId="3802208179" sldId="300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29:45.299" v="1678" actId="20577"/>
          <ac:spMkLst>
            <pc:docMk/>
            <pc:sldMk cId="3802208179" sldId="300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61" v="1329"/>
          <ac:spMkLst>
            <pc:docMk/>
            <pc:sldMk cId="3802208179" sldId="300"/>
            <ac:spMk id="11" creationId="{8469A7A2-6989-4F3B-889E-2F2ED397EA03}"/>
          </ac:spMkLst>
        </pc:spChg>
        <pc:spChg chg="del">
          <ac:chgData name="Thomas Stensitzki" userId="75cafe6b-2f2a-469b-85c4-eec3b9c972ba" providerId="ADAL" clId="{22364C70-387C-45A5-847B-30BBCAAA38B1}" dt="2020-05-27T18:31:04.268" v="692" actId="478"/>
          <ac:spMkLst>
            <pc:docMk/>
            <pc:sldMk cId="3802208179" sldId="300"/>
            <ac:spMk id="12" creationId="{9521BB9A-0A56-4C46-A366-9586B8744DB2}"/>
          </ac:spMkLst>
        </pc:spChg>
        <pc:picChg chg="del">
          <ac:chgData name="Thomas Stensitzki" userId="75cafe6b-2f2a-469b-85c4-eec3b9c972ba" providerId="ADAL" clId="{22364C70-387C-45A5-847B-30BBCAAA38B1}" dt="2020-05-27T18:31:04.268" v="692" actId="478"/>
          <ac:picMkLst>
            <pc:docMk/>
            <pc:sldMk cId="3802208179" sldId="300"/>
            <ac:picMk id="8" creationId="{2B844934-27D2-437A-A79A-12D367CD6A00}"/>
          </ac:picMkLst>
        </pc:picChg>
        <pc:picChg chg="add mod">
          <ac:chgData name="Thomas Stensitzki" userId="75cafe6b-2f2a-469b-85c4-eec3b9c972ba" providerId="ADAL" clId="{22364C70-387C-45A5-847B-30BBCAAA38B1}" dt="2020-05-27T18:31:15.525" v="693"/>
          <ac:picMkLst>
            <pc:docMk/>
            <pc:sldMk cId="3802208179" sldId="300"/>
            <ac:picMk id="10" creationId="{E9DC1A23-48EB-4DCE-887C-BA91E2E10CA9}"/>
          </ac:picMkLst>
        </pc:picChg>
        <pc:picChg chg="add mod">
          <ac:chgData name="Thomas Stensitzki" userId="75cafe6b-2f2a-469b-85c4-eec3b9c972ba" providerId="ADAL" clId="{22364C70-387C-45A5-847B-30BBCAAA38B1}" dt="2020-05-27T18:31:15.525" v="693"/>
          <ac:picMkLst>
            <pc:docMk/>
            <pc:sldMk cId="3802208179" sldId="300"/>
            <ac:picMk id="13" creationId="{F40335F3-7E4D-40C4-88F5-A90B5BD4C0BD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1:32.325" v="1702"/>
        <pc:sldMkLst>
          <pc:docMk/>
          <pc:sldMk cId="2778192426" sldId="301"/>
        </pc:sldMkLst>
        <pc:spChg chg="mod">
          <ac:chgData name="Thomas Stensitzki" userId="75cafe6b-2f2a-469b-85c4-eec3b9c972ba" providerId="ADAL" clId="{22364C70-387C-45A5-847B-30BBCAAA38B1}" dt="2020-05-28T09:09:20.566" v="1332" actId="790"/>
          <ac:spMkLst>
            <pc:docMk/>
            <pc:sldMk cId="2778192426" sldId="301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569" v="1333" actId="790"/>
          <ac:spMkLst>
            <pc:docMk/>
            <pc:sldMk cId="2778192426" sldId="301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1:03.214" v="1697" actId="20577"/>
          <ac:spMkLst>
            <pc:docMk/>
            <pc:sldMk cId="2778192426" sldId="301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71" v="1335"/>
          <ac:spMkLst>
            <pc:docMk/>
            <pc:sldMk cId="2778192426" sldId="301"/>
            <ac:spMk id="11" creationId="{F8E2E57D-FF6B-4C32-B4DB-C932C0348D93}"/>
          </ac:spMkLst>
        </pc:spChg>
        <pc:spChg chg="del">
          <ac:chgData name="Thomas Stensitzki" userId="75cafe6b-2f2a-469b-85c4-eec3b9c972ba" providerId="ADAL" clId="{22364C70-387C-45A5-847B-30BBCAAA38B1}" dt="2020-05-27T18:38:26.994" v="699" actId="478"/>
          <ac:spMkLst>
            <pc:docMk/>
            <pc:sldMk cId="2778192426" sldId="301"/>
            <ac:spMk id="12" creationId="{9521BB9A-0A56-4C46-A366-9586B8744DB2}"/>
          </ac:spMkLst>
        </pc:spChg>
        <pc:spChg chg="add mod">
          <ac:chgData name="Thomas Stensitzki" userId="75cafe6b-2f2a-469b-85c4-eec3b9c972ba" providerId="ADAL" clId="{22364C70-387C-45A5-847B-30BBCAAA38B1}" dt="2020-05-28T09:09:20.572" v="1336"/>
          <ac:spMkLst>
            <pc:docMk/>
            <pc:sldMk cId="2778192426" sldId="301"/>
            <ac:spMk id="13" creationId="{73A31BB3-365E-44A5-9A11-B20CD86D210D}"/>
          </ac:spMkLst>
        </pc:spChg>
        <pc:picChg chg="del">
          <ac:chgData name="Thomas Stensitzki" userId="75cafe6b-2f2a-469b-85c4-eec3b9c972ba" providerId="ADAL" clId="{22364C70-387C-45A5-847B-30BBCAAA38B1}" dt="2020-05-27T18:38:27.531" v="700" actId="478"/>
          <ac:picMkLst>
            <pc:docMk/>
            <pc:sldMk cId="2778192426" sldId="301"/>
            <ac:picMk id="8" creationId="{2B844934-27D2-437A-A79A-12D367CD6A00}"/>
          </ac:picMkLst>
        </pc:picChg>
        <pc:picChg chg="add mod">
          <ac:chgData name="Thomas Stensitzki" userId="75cafe6b-2f2a-469b-85c4-eec3b9c972ba" providerId="ADAL" clId="{22364C70-387C-45A5-847B-30BBCAAA38B1}" dt="2020-05-27T18:38:40.463" v="701"/>
          <ac:picMkLst>
            <pc:docMk/>
            <pc:sldMk cId="2778192426" sldId="301"/>
            <ac:picMk id="10" creationId="{E53324F8-BBB6-46EE-A20B-A15CCFFAEBF6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2:05.776" v="1727"/>
        <pc:sldMkLst>
          <pc:docMk/>
          <pc:sldMk cId="332131475" sldId="302"/>
        </pc:sldMkLst>
        <pc:spChg chg="mod">
          <ac:chgData name="Thomas Stensitzki" userId="75cafe6b-2f2a-469b-85c4-eec3b9c972ba" providerId="ADAL" clId="{22364C70-387C-45A5-847B-30BBCAAA38B1}" dt="2020-05-28T09:09:20.577" v="1339" actId="790"/>
          <ac:spMkLst>
            <pc:docMk/>
            <pc:sldMk cId="332131475" sldId="302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579" v="1340" actId="790"/>
          <ac:spMkLst>
            <pc:docMk/>
            <pc:sldMk cId="332131475" sldId="302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1:50.055" v="1723" actId="20577"/>
          <ac:spMkLst>
            <pc:docMk/>
            <pc:sldMk cId="332131475" sldId="302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39:09.440" v="705" actId="478"/>
          <ac:spMkLst>
            <pc:docMk/>
            <pc:sldMk cId="332131475" sldId="302"/>
            <ac:spMk id="11" creationId="{F8E2E57D-FF6B-4C32-B4DB-C932C0348D93}"/>
          </ac:spMkLst>
        </pc:spChg>
        <pc:spChg chg="del">
          <ac:chgData name="Thomas Stensitzki" userId="75cafe6b-2f2a-469b-85c4-eec3b9c972ba" providerId="ADAL" clId="{22364C70-387C-45A5-847B-30BBCAAA38B1}" dt="2020-05-27T18:39:09.440" v="705" actId="478"/>
          <ac:spMkLst>
            <pc:docMk/>
            <pc:sldMk cId="332131475" sldId="302"/>
            <ac:spMk id="13" creationId="{73A31BB3-365E-44A5-9A11-B20CD86D210D}"/>
          </ac:spMkLst>
        </pc:spChg>
        <pc:spChg chg="add mod">
          <ac:chgData name="Thomas Stensitzki" userId="75cafe6b-2f2a-469b-85c4-eec3b9c972ba" providerId="ADAL" clId="{22364C70-387C-45A5-847B-30BBCAAA38B1}" dt="2020-05-28T09:09:20.581" v="1342"/>
          <ac:spMkLst>
            <pc:docMk/>
            <pc:sldMk cId="332131475" sldId="302"/>
            <ac:spMk id="14" creationId="{80017B92-C499-4C81-902F-33A5A36B10D8}"/>
          </ac:spMkLst>
        </pc:spChg>
        <pc:picChg chg="add mod">
          <ac:chgData name="Thomas Stensitzki" userId="75cafe6b-2f2a-469b-85c4-eec3b9c972ba" providerId="ADAL" clId="{22364C70-387C-45A5-847B-30BBCAAA38B1}" dt="2020-05-27T18:39:16.381" v="706"/>
          <ac:picMkLst>
            <pc:docMk/>
            <pc:sldMk cId="332131475" sldId="302"/>
            <ac:picMk id="8" creationId="{1F605DBF-F3EE-4E5E-9947-7F5718481271}"/>
          </ac:picMkLst>
        </pc:picChg>
        <pc:picChg chg="del">
          <ac:chgData name="Thomas Stensitzki" userId="75cafe6b-2f2a-469b-85c4-eec3b9c972ba" providerId="ADAL" clId="{22364C70-387C-45A5-847B-30BBCAAA38B1}" dt="2020-05-27T18:39:09.440" v="705" actId="478"/>
          <ac:picMkLst>
            <pc:docMk/>
            <pc:sldMk cId="332131475" sldId="302"/>
            <ac:picMk id="10" creationId="{E53324F8-BBB6-46EE-A20B-A15CCFFAEBF6}"/>
          </ac:picMkLst>
        </pc:picChg>
        <pc:picChg chg="add mod">
          <ac:chgData name="Thomas Stensitzki" userId="75cafe6b-2f2a-469b-85c4-eec3b9c972ba" providerId="ADAL" clId="{22364C70-387C-45A5-847B-30BBCAAA38B1}" dt="2020-05-27T18:39:16.381" v="706"/>
          <ac:picMkLst>
            <pc:docMk/>
            <pc:sldMk cId="332131475" sldId="302"/>
            <ac:picMk id="12" creationId="{8DC1D585-54E3-4C7C-852D-AB4F86E9DAEB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3:30.741" v="1762" actId="20577"/>
        <pc:sldMkLst>
          <pc:docMk/>
          <pc:sldMk cId="4095028897" sldId="303"/>
        </pc:sldMkLst>
        <pc:spChg chg="mod">
          <ac:chgData name="Thomas Stensitzki" userId="75cafe6b-2f2a-469b-85c4-eec3b9c972ba" providerId="ADAL" clId="{22364C70-387C-45A5-847B-30BBCAAA38B1}" dt="2020-05-28T09:09:20.587" v="1345" actId="790"/>
          <ac:spMkLst>
            <pc:docMk/>
            <pc:sldMk cId="4095028897" sldId="303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33:30.741" v="1762" actId="20577"/>
          <ac:spMkLst>
            <pc:docMk/>
            <pc:sldMk cId="4095028897" sldId="303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3:19.668" v="1753" actId="20577"/>
          <ac:spMkLst>
            <pc:docMk/>
            <pc:sldMk cId="4095028897" sldId="303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91" v="1348"/>
          <ac:spMkLst>
            <pc:docMk/>
            <pc:sldMk cId="4095028897" sldId="303"/>
            <ac:spMk id="11" creationId="{42675F82-26D1-4703-B19A-AB857A4ECE79}"/>
          </ac:spMkLst>
        </pc:spChg>
        <pc:spChg chg="del">
          <ac:chgData name="Thomas Stensitzki" userId="75cafe6b-2f2a-469b-85c4-eec3b9c972ba" providerId="ADAL" clId="{22364C70-387C-45A5-847B-30BBCAAA38B1}" dt="2020-05-27T18:39:41.158" v="710" actId="478"/>
          <ac:spMkLst>
            <pc:docMk/>
            <pc:sldMk cId="4095028897" sldId="303"/>
            <ac:spMk id="14" creationId="{80017B92-C499-4C81-902F-33A5A36B10D8}"/>
          </ac:spMkLst>
        </pc:spChg>
        <pc:picChg chg="del">
          <ac:chgData name="Thomas Stensitzki" userId="75cafe6b-2f2a-469b-85c4-eec3b9c972ba" providerId="ADAL" clId="{22364C70-387C-45A5-847B-30BBCAAA38B1}" dt="2020-05-27T18:39:41.158" v="710" actId="478"/>
          <ac:picMkLst>
            <pc:docMk/>
            <pc:sldMk cId="4095028897" sldId="303"/>
            <ac:picMk id="8" creationId="{1F605DBF-F3EE-4E5E-9947-7F5718481271}"/>
          </ac:picMkLst>
        </pc:picChg>
        <pc:picChg chg="add mod">
          <ac:chgData name="Thomas Stensitzki" userId="75cafe6b-2f2a-469b-85c4-eec3b9c972ba" providerId="ADAL" clId="{22364C70-387C-45A5-847B-30BBCAAA38B1}" dt="2020-05-27T18:39:47.160" v="711"/>
          <ac:picMkLst>
            <pc:docMk/>
            <pc:sldMk cId="4095028897" sldId="303"/>
            <ac:picMk id="10" creationId="{8430CD52-FE15-4E4F-B764-E4354840FFE6}"/>
          </ac:picMkLst>
        </pc:picChg>
        <pc:picChg chg="del">
          <ac:chgData name="Thomas Stensitzki" userId="75cafe6b-2f2a-469b-85c4-eec3b9c972ba" providerId="ADAL" clId="{22364C70-387C-45A5-847B-30BBCAAA38B1}" dt="2020-05-27T18:39:41.158" v="710" actId="478"/>
          <ac:picMkLst>
            <pc:docMk/>
            <pc:sldMk cId="4095028897" sldId="303"/>
            <ac:picMk id="12" creationId="{8DC1D585-54E3-4C7C-852D-AB4F86E9DAEB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4:00.625" v="1784"/>
        <pc:sldMkLst>
          <pc:docMk/>
          <pc:sldMk cId="4277648745" sldId="304"/>
        </pc:sldMkLst>
        <pc:spChg chg="mod">
          <ac:chgData name="Thomas Stensitzki" userId="75cafe6b-2f2a-469b-85c4-eec3b9c972ba" providerId="ADAL" clId="{22364C70-387C-45A5-847B-30BBCAAA38B1}" dt="2020-05-28T09:09:20.597" v="1351" actId="790"/>
          <ac:spMkLst>
            <pc:docMk/>
            <pc:sldMk cId="4277648745" sldId="304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599" v="1352" actId="790"/>
          <ac:spMkLst>
            <pc:docMk/>
            <pc:sldMk cId="4277648745" sldId="304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3:44.744" v="1780" actId="20577"/>
          <ac:spMkLst>
            <pc:docMk/>
            <pc:sldMk cId="4277648745" sldId="304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40:10.131" v="716" actId="478"/>
          <ac:spMkLst>
            <pc:docMk/>
            <pc:sldMk cId="4277648745" sldId="304"/>
            <ac:spMk id="11" creationId="{42675F82-26D1-4703-B19A-AB857A4ECE79}"/>
          </ac:spMkLst>
        </pc:spChg>
        <pc:picChg chg="add mod">
          <ac:chgData name="Thomas Stensitzki" userId="75cafe6b-2f2a-469b-85c4-eec3b9c972ba" providerId="ADAL" clId="{22364C70-387C-45A5-847B-30BBCAAA38B1}" dt="2020-05-27T18:40:15.384" v="717"/>
          <ac:picMkLst>
            <pc:docMk/>
            <pc:sldMk cId="4277648745" sldId="304"/>
            <ac:picMk id="8" creationId="{07EA74B1-8EC7-40BA-8FD3-7F5E0D563FC9}"/>
          </ac:picMkLst>
        </pc:picChg>
        <pc:picChg chg="del">
          <ac:chgData name="Thomas Stensitzki" userId="75cafe6b-2f2a-469b-85c4-eec3b9c972ba" providerId="ADAL" clId="{22364C70-387C-45A5-847B-30BBCAAA38B1}" dt="2020-05-27T18:40:10.131" v="716" actId="478"/>
          <ac:picMkLst>
            <pc:docMk/>
            <pc:sldMk cId="4277648745" sldId="304"/>
            <ac:picMk id="10" creationId="{8430CD52-FE15-4E4F-B764-E4354840FFE6}"/>
          </ac:picMkLst>
        </pc:picChg>
        <pc:picChg chg="add mod">
          <ac:chgData name="Thomas Stensitzki" userId="75cafe6b-2f2a-469b-85c4-eec3b9c972ba" providerId="ADAL" clId="{22364C70-387C-45A5-847B-30BBCAAA38B1}" dt="2020-05-27T18:40:15.384" v="717"/>
          <ac:picMkLst>
            <pc:docMk/>
            <pc:sldMk cId="4277648745" sldId="304"/>
            <ac:picMk id="12" creationId="{3421C58D-09E3-48E4-BE82-2455DA915D05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6:15.650" v="1818"/>
        <pc:sldMkLst>
          <pc:docMk/>
          <pc:sldMk cId="3649161575" sldId="305"/>
        </pc:sldMkLst>
        <pc:spChg chg="mod">
          <ac:chgData name="Thomas Stensitzki" userId="75cafe6b-2f2a-469b-85c4-eec3b9c972ba" providerId="ADAL" clId="{22364C70-387C-45A5-847B-30BBCAAA38B1}" dt="2020-05-28T09:09:20.605" v="1356" actId="790"/>
          <ac:spMkLst>
            <pc:docMk/>
            <pc:sldMk cId="3649161575" sldId="305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08" v="1357" actId="790"/>
          <ac:spMkLst>
            <pc:docMk/>
            <pc:sldMk cId="3649161575" sldId="305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5:56.596" v="1817" actId="20577"/>
          <ac:spMkLst>
            <pc:docMk/>
            <pc:sldMk cId="3649161575" sldId="305"/>
            <ac:spMk id="9" creationId="{67FCCA18-130E-43E2-98AA-737A275C4D33}"/>
          </ac:spMkLst>
        </pc:spChg>
        <pc:spChg chg="add del mod">
          <ac:chgData name="Thomas Stensitzki" userId="75cafe6b-2f2a-469b-85c4-eec3b9c972ba" providerId="ADAL" clId="{22364C70-387C-45A5-847B-30BBCAAA38B1}" dt="2020-05-28T09:34:26.956" v="1786" actId="478"/>
          <ac:spMkLst>
            <pc:docMk/>
            <pc:sldMk cId="3649161575" sldId="305"/>
            <ac:spMk id="10" creationId="{5C72FCE2-244C-4B68-84EC-0F4D1D570911}"/>
          </ac:spMkLst>
        </pc:spChg>
        <pc:spChg chg="add mod">
          <ac:chgData name="Thomas Stensitzki" userId="75cafe6b-2f2a-469b-85c4-eec3b9c972ba" providerId="ADAL" clId="{22364C70-387C-45A5-847B-30BBCAAA38B1}" dt="2020-05-28T09:09:20.635" v="1360"/>
          <ac:spMkLst>
            <pc:docMk/>
            <pc:sldMk cId="3649161575" sldId="305"/>
            <ac:spMk id="13" creationId="{1B0511AF-DBD5-4C72-9E46-30D1335A89E1}"/>
          </ac:spMkLst>
        </pc:spChg>
        <pc:spChg chg="add mod">
          <ac:chgData name="Thomas Stensitzki" userId="75cafe6b-2f2a-469b-85c4-eec3b9c972ba" providerId="ADAL" clId="{22364C70-387C-45A5-847B-30BBCAAA38B1}" dt="2020-05-28T09:09:20.635" v="1361"/>
          <ac:spMkLst>
            <pc:docMk/>
            <pc:sldMk cId="3649161575" sldId="305"/>
            <ac:spMk id="15" creationId="{25BB3DE5-53C9-47D3-9F75-5376187DF1AA}"/>
          </ac:spMkLst>
        </pc:spChg>
        <pc:picChg chg="del">
          <ac:chgData name="Thomas Stensitzki" userId="75cafe6b-2f2a-469b-85c4-eec3b9c972ba" providerId="ADAL" clId="{22364C70-387C-45A5-847B-30BBCAAA38B1}" dt="2020-05-27T18:40:37.065" v="723" actId="478"/>
          <ac:picMkLst>
            <pc:docMk/>
            <pc:sldMk cId="3649161575" sldId="305"/>
            <ac:picMk id="8" creationId="{07EA74B1-8EC7-40BA-8FD3-7F5E0D563FC9}"/>
          </ac:picMkLst>
        </pc:picChg>
        <pc:picChg chg="add mod">
          <ac:chgData name="Thomas Stensitzki" userId="75cafe6b-2f2a-469b-85c4-eec3b9c972ba" providerId="ADAL" clId="{22364C70-387C-45A5-847B-30BBCAAA38B1}" dt="2020-05-27T18:40:44.725" v="724"/>
          <ac:picMkLst>
            <pc:docMk/>
            <pc:sldMk cId="3649161575" sldId="305"/>
            <ac:picMk id="11" creationId="{B00E6A82-458B-4397-B54E-BCB39CFA5BBA}"/>
          </ac:picMkLst>
        </pc:picChg>
        <pc:picChg chg="del">
          <ac:chgData name="Thomas Stensitzki" userId="75cafe6b-2f2a-469b-85c4-eec3b9c972ba" providerId="ADAL" clId="{22364C70-387C-45A5-847B-30BBCAAA38B1}" dt="2020-05-27T18:40:37.065" v="723" actId="478"/>
          <ac:picMkLst>
            <pc:docMk/>
            <pc:sldMk cId="3649161575" sldId="305"/>
            <ac:picMk id="12" creationId="{3421C58D-09E3-48E4-BE82-2455DA915D05}"/>
          </ac:picMkLst>
        </pc:picChg>
        <pc:picChg chg="add mod">
          <ac:chgData name="Thomas Stensitzki" userId="75cafe6b-2f2a-469b-85c4-eec3b9c972ba" providerId="ADAL" clId="{22364C70-387C-45A5-847B-30BBCAAA38B1}" dt="2020-05-27T18:40:44.725" v="724"/>
          <ac:picMkLst>
            <pc:docMk/>
            <pc:sldMk cId="3649161575" sldId="305"/>
            <ac:picMk id="14" creationId="{1AB9796D-0904-4A9B-9B67-EA3901F8A9AA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7:47.135" v="1859" actId="20577"/>
        <pc:sldMkLst>
          <pc:docMk/>
          <pc:sldMk cId="180988898" sldId="306"/>
        </pc:sldMkLst>
        <pc:spChg chg="mod">
          <ac:chgData name="Thomas Stensitzki" userId="75cafe6b-2f2a-469b-85c4-eec3b9c972ba" providerId="ADAL" clId="{22364C70-387C-45A5-847B-30BBCAAA38B1}" dt="2020-05-28T09:09:20.643" v="1364" actId="790"/>
          <ac:spMkLst>
            <pc:docMk/>
            <pc:sldMk cId="180988898" sldId="306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45" v="1365" actId="790"/>
          <ac:spMkLst>
            <pc:docMk/>
            <pc:sldMk cId="180988898" sldId="306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7:47.135" v="1859" actId="20577"/>
          <ac:spMkLst>
            <pc:docMk/>
            <pc:sldMk cId="180988898" sldId="306"/>
            <ac:spMk id="9" creationId="{67FCCA18-130E-43E2-98AA-737A275C4D33}"/>
          </ac:spMkLst>
        </pc:spChg>
        <pc:spChg chg="del mod">
          <ac:chgData name="Thomas Stensitzki" userId="75cafe6b-2f2a-469b-85c4-eec3b9c972ba" providerId="ADAL" clId="{22364C70-387C-45A5-847B-30BBCAAA38B1}" dt="2020-05-27T18:41:21.819" v="728" actId="478"/>
          <ac:spMkLst>
            <pc:docMk/>
            <pc:sldMk cId="180988898" sldId="306"/>
            <ac:spMk id="10" creationId="{5C72FCE2-244C-4B68-84EC-0F4D1D570911}"/>
          </ac:spMkLst>
        </pc:spChg>
        <pc:spChg chg="del">
          <ac:chgData name="Thomas Stensitzki" userId="75cafe6b-2f2a-469b-85c4-eec3b9c972ba" providerId="ADAL" clId="{22364C70-387C-45A5-847B-30BBCAAA38B1}" dt="2020-05-27T18:41:38.486" v="732" actId="478"/>
          <ac:spMkLst>
            <pc:docMk/>
            <pc:sldMk cId="180988898" sldId="306"/>
            <ac:spMk id="13" creationId="{1B0511AF-DBD5-4C72-9E46-30D1335A89E1}"/>
          </ac:spMkLst>
        </pc:spChg>
        <pc:spChg chg="del">
          <ac:chgData name="Thomas Stensitzki" userId="75cafe6b-2f2a-469b-85c4-eec3b9c972ba" providerId="ADAL" clId="{22364C70-387C-45A5-847B-30BBCAAA38B1}" dt="2020-05-27T18:41:38.486" v="732" actId="478"/>
          <ac:spMkLst>
            <pc:docMk/>
            <pc:sldMk cId="180988898" sldId="306"/>
            <ac:spMk id="15" creationId="{25BB3DE5-53C9-47D3-9F75-5376187DF1AA}"/>
          </ac:spMkLst>
        </pc:spChg>
        <pc:spChg chg="add mod">
          <ac:chgData name="Thomas Stensitzki" userId="75cafe6b-2f2a-469b-85c4-eec3b9c972ba" providerId="ADAL" clId="{22364C70-387C-45A5-847B-30BBCAAA38B1}" dt="2020-05-28T09:09:20.647" v="1367"/>
          <ac:spMkLst>
            <pc:docMk/>
            <pc:sldMk cId="180988898" sldId="306"/>
            <ac:spMk id="16" creationId="{68FC9CC0-3CB4-4C02-BB07-D92A9A790D65}"/>
          </ac:spMkLst>
        </pc:spChg>
        <pc:picChg chg="del">
          <ac:chgData name="Thomas Stensitzki" userId="75cafe6b-2f2a-469b-85c4-eec3b9c972ba" providerId="ADAL" clId="{22364C70-387C-45A5-847B-30BBCAAA38B1}" dt="2020-05-27T18:41:38.486" v="732" actId="478"/>
          <ac:picMkLst>
            <pc:docMk/>
            <pc:sldMk cId="180988898" sldId="306"/>
            <ac:picMk id="11" creationId="{B00E6A82-458B-4397-B54E-BCB39CFA5BBA}"/>
          </ac:picMkLst>
        </pc:picChg>
        <pc:picChg chg="add mod">
          <ac:chgData name="Thomas Stensitzki" userId="75cafe6b-2f2a-469b-85c4-eec3b9c972ba" providerId="ADAL" clId="{22364C70-387C-45A5-847B-30BBCAAA38B1}" dt="2020-05-27T18:41:40.290" v="733"/>
          <ac:picMkLst>
            <pc:docMk/>
            <pc:sldMk cId="180988898" sldId="306"/>
            <ac:picMk id="12" creationId="{1E00620F-34DB-4F95-B807-D0371496CEEC}"/>
          </ac:picMkLst>
        </pc:picChg>
        <pc:picChg chg="del">
          <ac:chgData name="Thomas Stensitzki" userId="75cafe6b-2f2a-469b-85c4-eec3b9c972ba" providerId="ADAL" clId="{22364C70-387C-45A5-847B-30BBCAAA38B1}" dt="2020-05-27T18:41:38.486" v="732" actId="478"/>
          <ac:picMkLst>
            <pc:docMk/>
            <pc:sldMk cId="180988898" sldId="306"/>
            <ac:picMk id="14" creationId="{1AB9796D-0904-4A9B-9B67-EA3901F8A9AA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7:43.817" v="1858" actId="20577"/>
        <pc:sldMkLst>
          <pc:docMk/>
          <pc:sldMk cId="1319566286" sldId="307"/>
        </pc:sldMkLst>
        <pc:spChg chg="mod">
          <ac:chgData name="Thomas Stensitzki" userId="75cafe6b-2f2a-469b-85c4-eec3b9c972ba" providerId="ADAL" clId="{22364C70-387C-45A5-847B-30BBCAAA38B1}" dt="2020-05-28T09:09:20.653" v="1370" actId="790"/>
          <ac:spMkLst>
            <pc:docMk/>
            <pc:sldMk cId="1319566286" sldId="307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55" v="1371" actId="790"/>
          <ac:spMkLst>
            <pc:docMk/>
            <pc:sldMk cId="1319566286" sldId="307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7:43.817" v="1858" actId="20577"/>
          <ac:spMkLst>
            <pc:docMk/>
            <pc:sldMk cId="1319566286" sldId="307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657" v="1373"/>
          <ac:spMkLst>
            <pc:docMk/>
            <pc:sldMk cId="1319566286" sldId="307"/>
            <ac:spMk id="10" creationId="{8B32C494-23D8-4673-9AC6-187C737A3AF9}"/>
          </ac:spMkLst>
        </pc:spChg>
        <pc:spChg chg="del">
          <ac:chgData name="Thomas Stensitzki" userId="75cafe6b-2f2a-469b-85c4-eec3b9c972ba" providerId="ADAL" clId="{22364C70-387C-45A5-847B-30BBCAAA38B1}" dt="2020-05-27T18:41:51.260" v="735" actId="478"/>
          <ac:spMkLst>
            <pc:docMk/>
            <pc:sldMk cId="1319566286" sldId="307"/>
            <ac:spMk id="16" creationId="{68FC9CC0-3CB4-4C02-BB07-D92A9A790D65}"/>
          </ac:spMkLst>
        </pc:spChg>
        <pc:picChg chg="add mod">
          <ac:chgData name="Thomas Stensitzki" userId="75cafe6b-2f2a-469b-85c4-eec3b9c972ba" providerId="ADAL" clId="{22364C70-387C-45A5-847B-30BBCAAA38B1}" dt="2020-05-27T18:42:08.403" v="739"/>
          <ac:picMkLst>
            <pc:docMk/>
            <pc:sldMk cId="1319566286" sldId="307"/>
            <ac:picMk id="8" creationId="{44498E0C-6AE4-47BA-8C4F-A9C5FEEE93DD}"/>
          </ac:picMkLst>
        </pc:picChg>
        <pc:picChg chg="del">
          <ac:chgData name="Thomas Stensitzki" userId="75cafe6b-2f2a-469b-85c4-eec3b9c972ba" providerId="ADAL" clId="{22364C70-387C-45A5-847B-30BBCAAA38B1}" dt="2020-05-27T18:41:51.260" v="735" actId="478"/>
          <ac:picMkLst>
            <pc:docMk/>
            <pc:sldMk cId="1319566286" sldId="307"/>
            <ac:picMk id="12" creationId="{1E00620F-34DB-4F95-B807-D0371496CEEC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9:15.329" v="1955"/>
        <pc:sldMkLst>
          <pc:docMk/>
          <pc:sldMk cId="3026806507" sldId="308"/>
        </pc:sldMkLst>
        <pc:spChg chg="mod">
          <ac:chgData name="Thomas Stensitzki" userId="75cafe6b-2f2a-469b-85c4-eec3b9c972ba" providerId="ADAL" clId="{22364C70-387C-45A5-847B-30BBCAAA38B1}" dt="2020-05-28T09:09:20.663" v="1376" actId="790"/>
          <ac:spMkLst>
            <pc:docMk/>
            <pc:sldMk cId="3026806507" sldId="308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39:12.967" v="1954" actId="313"/>
          <ac:spMkLst>
            <pc:docMk/>
            <pc:sldMk cId="3026806507" sldId="308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9:08.172" v="1953" actId="20577"/>
          <ac:spMkLst>
            <pc:docMk/>
            <pc:sldMk cId="3026806507" sldId="308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42:38.571" v="745" actId="478"/>
          <ac:spMkLst>
            <pc:docMk/>
            <pc:sldMk cId="3026806507" sldId="308"/>
            <ac:spMk id="10" creationId="{8B32C494-23D8-4673-9AC6-187C737A3AF9}"/>
          </ac:spMkLst>
        </pc:spChg>
        <pc:spChg chg="add mod">
          <ac:chgData name="Thomas Stensitzki" userId="75cafe6b-2f2a-469b-85c4-eec3b9c972ba" providerId="ADAL" clId="{22364C70-387C-45A5-847B-30BBCAAA38B1}" dt="2020-05-28T09:09:20.669" v="1379"/>
          <ac:spMkLst>
            <pc:docMk/>
            <pc:sldMk cId="3026806507" sldId="308"/>
            <ac:spMk id="12" creationId="{2D873116-9FF8-4D99-A456-78AECB719E50}"/>
          </ac:spMkLst>
        </pc:spChg>
        <pc:picChg chg="del">
          <ac:chgData name="Thomas Stensitzki" userId="75cafe6b-2f2a-469b-85c4-eec3b9c972ba" providerId="ADAL" clId="{22364C70-387C-45A5-847B-30BBCAAA38B1}" dt="2020-05-27T18:42:38.571" v="745" actId="478"/>
          <ac:picMkLst>
            <pc:docMk/>
            <pc:sldMk cId="3026806507" sldId="308"/>
            <ac:picMk id="8" creationId="{44498E0C-6AE4-47BA-8C4F-A9C5FEEE93DD}"/>
          </ac:picMkLst>
        </pc:picChg>
        <pc:picChg chg="add mod">
          <ac:chgData name="Thomas Stensitzki" userId="75cafe6b-2f2a-469b-85c4-eec3b9c972ba" providerId="ADAL" clId="{22364C70-387C-45A5-847B-30BBCAAA38B1}" dt="2020-05-27T18:42:43.710" v="746"/>
          <ac:picMkLst>
            <pc:docMk/>
            <pc:sldMk cId="3026806507" sldId="308"/>
            <ac:picMk id="11" creationId="{D36B65E7-F4CE-4531-A247-2DF08E4F9655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47:10.418" v="2004" actId="6549"/>
        <pc:sldMkLst>
          <pc:docMk/>
          <pc:sldMk cId="3945895350" sldId="309"/>
        </pc:sldMkLst>
        <pc:spChg chg="mod">
          <ac:chgData name="Thomas Stensitzki" userId="75cafe6b-2f2a-469b-85c4-eec3b9c972ba" providerId="ADAL" clId="{22364C70-387C-45A5-847B-30BBCAAA38B1}" dt="2020-05-28T09:09:20.674" v="1382" actId="790"/>
          <ac:spMkLst>
            <pc:docMk/>
            <pc:sldMk cId="3945895350" sldId="309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76" v="1383" actId="790"/>
          <ac:spMkLst>
            <pc:docMk/>
            <pc:sldMk cId="3945895350" sldId="309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47:10.418" v="2004" actId="6549"/>
          <ac:spMkLst>
            <pc:docMk/>
            <pc:sldMk cId="3945895350" sldId="309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678" v="1385"/>
          <ac:spMkLst>
            <pc:docMk/>
            <pc:sldMk cId="3945895350" sldId="309"/>
            <ac:spMk id="10" creationId="{DED7D93F-1FFE-49C5-AF6C-006E2DA2C370}"/>
          </ac:spMkLst>
        </pc:spChg>
        <pc:spChg chg="del">
          <ac:chgData name="Thomas Stensitzki" userId="75cafe6b-2f2a-469b-85c4-eec3b9c972ba" providerId="ADAL" clId="{22364C70-387C-45A5-847B-30BBCAAA38B1}" dt="2020-05-27T18:43:22.259" v="750" actId="478"/>
          <ac:spMkLst>
            <pc:docMk/>
            <pc:sldMk cId="3945895350" sldId="309"/>
            <ac:spMk id="12" creationId="{2D873116-9FF8-4D99-A456-78AECB719E50}"/>
          </ac:spMkLst>
        </pc:spChg>
        <pc:picChg chg="add mod">
          <ac:chgData name="Thomas Stensitzki" userId="75cafe6b-2f2a-469b-85c4-eec3b9c972ba" providerId="ADAL" clId="{22364C70-387C-45A5-847B-30BBCAAA38B1}" dt="2020-05-27T18:43:27.338" v="751"/>
          <ac:picMkLst>
            <pc:docMk/>
            <pc:sldMk cId="3945895350" sldId="309"/>
            <ac:picMk id="8" creationId="{A0E4E807-5B70-4151-A7FE-070362B413AB}"/>
          </ac:picMkLst>
        </pc:picChg>
        <pc:picChg chg="del">
          <ac:chgData name="Thomas Stensitzki" userId="75cafe6b-2f2a-469b-85c4-eec3b9c972ba" providerId="ADAL" clId="{22364C70-387C-45A5-847B-30BBCAAA38B1}" dt="2020-05-27T18:43:22.259" v="750" actId="478"/>
          <ac:picMkLst>
            <pc:docMk/>
            <pc:sldMk cId="3945895350" sldId="309"/>
            <ac:picMk id="11" creationId="{D36B65E7-F4CE-4531-A247-2DF08E4F9655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47:32.084" v="2022" actId="113"/>
        <pc:sldMkLst>
          <pc:docMk/>
          <pc:sldMk cId="488885664" sldId="310"/>
        </pc:sldMkLst>
        <pc:spChg chg="mod">
          <ac:chgData name="Thomas Stensitzki" userId="75cafe6b-2f2a-469b-85c4-eec3b9c972ba" providerId="ADAL" clId="{22364C70-387C-45A5-847B-30BBCAAA38B1}" dt="2020-05-28T09:09:20.684" v="1388" actId="790"/>
          <ac:spMkLst>
            <pc:docMk/>
            <pc:sldMk cId="488885664" sldId="310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47:32.084" v="2022" actId="113"/>
          <ac:spMkLst>
            <pc:docMk/>
            <pc:sldMk cId="488885664" sldId="310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47:27.217" v="2021" actId="20577"/>
          <ac:spMkLst>
            <pc:docMk/>
            <pc:sldMk cId="488885664" sldId="310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44:15.924" v="775" actId="478"/>
          <ac:spMkLst>
            <pc:docMk/>
            <pc:sldMk cId="488885664" sldId="310"/>
            <ac:spMk id="10" creationId="{DED7D93F-1FFE-49C5-AF6C-006E2DA2C370}"/>
          </ac:spMkLst>
        </pc:spChg>
        <pc:picChg chg="del">
          <ac:chgData name="Thomas Stensitzki" userId="75cafe6b-2f2a-469b-85c4-eec3b9c972ba" providerId="ADAL" clId="{22364C70-387C-45A5-847B-30BBCAAA38B1}" dt="2020-05-27T18:44:15.924" v="775" actId="478"/>
          <ac:picMkLst>
            <pc:docMk/>
            <pc:sldMk cId="488885664" sldId="310"/>
            <ac:picMk id="8" creationId="{A0E4E807-5B70-4151-A7FE-070362B413AB}"/>
          </ac:picMkLst>
        </pc:picChg>
        <pc:picChg chg="add mod">
          <ac:chgData name="Thomas Stensitzki" userId="75cafe6b-2f2a-469b-85c4-eec3b9c972ba" providerId="ADAL" clId="{22364C70-387C-45A5-847B-30BBCAAA38B1}" dt="2020-05-27T18:44:16.921" v="776"/>
          <ac:picMkLst>
            <pc:docMk/>
            <pc:sldMk cId="488885664" sldId="310"/>
            <ac:picMk id="11" creationId="{0A8F3893-EAFB-4A91-BFC9-A6FF8F15865E}"/>
          </ac:picMkLst>
        </pc:picChg>
      </pc:sldChg>
      <pc:sldChg chg="addSp delSp modSp new mod ord modTransition modClrScheme chgLayout modNotes">
        <pc:chgData name="Thomas Stensitzki" userId="75cafe6b-2f2a-469b-85c4-eec3b9c972ba" providerId="ADAL" clId="{22364C70-387C-45A5-847B-30BBCAAA38B1}" dt="2020-05-28T09:09:20.744" v="1415" actId="790"/>
        <pc:sldMkLst>
          <pc:docMk/>
          <pc:sldMk cId="277510243" sldId="311"/>
        </pc:sldMkLst>
        <pc:spChg chg="del mod ord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2" creationId="{AD5C3540-AA51-45A1-8DE3-540D0FB3EB10}"/>
          </ac:spMkLst>
        </pc:spChg>
        <pc:spChg chg="del mod ord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3" creationId="{922CBC85-D671-4FF0-8FC1-930967E284FA}"/>
          </ac:spMkLst>
        </pc:spChg>
        <pc:spChg chg="del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4" creationId="{48E6DA82-4829-46EE-9EDE-1D7DC1CF0E73}"/>
          </ac:spMkLst>
        </pc:spChg>
        <pc:spChg chg="del mod ord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5" creationId="{88DEDBEE-A65F-4F00-A09D-F5115DC313ED}"/>
          </ac:spMkLst>
        </pc:spChg>
        <pc:spChg chg="add mod ord">
          <ac:chgData name="Thomas Stensitzki" userId="75cafe6b-2f2a-469b-85c4-eec3b9c972ba" providerId="ADAL" clId="{22364C70-387C-45A5-847B-30BBCAAA38B1}" dt="2020-05-28T09:09:20.728" v="1411" actId="790"/>
          <ac:spMkLst>
            <pc:docMk/>
            <pc:sldMk cId="277510243" sldId="311"/>
            <ac:spMk id="6" creationId="{49D32E9C-62AA-40C0-A546-6148B995C23F}"/>
          </ac:spMkLst>
        </pc:spChg>
        <pc:spChg chg="add mod ord">
          <ac:chgData name="Thomas Stensitzki" userId="75cafe6b-2f2a-469b-85c4-eec3b9c972ba" providerId="ADAL" clId="{22364C70-387C-45A5-847B-30BBCAAA38B1}" dt="2020-05-28T09:09:20.739" v="1412" actId="790"/>
          <ac:spMkLst>
            <pc:docMk/>
            <pc:sldMk cId="277510243" sldId="311"/>
            <ac:spMk id="7" creationId="{CD65A1BC-1F13-4593-9618-120A7726DE57}"/>
          </ac:spMkLst>
        </pc:spChg>
        <pc:spChg chg="add mod ord">
          <ac:chgData name="Thomas Stensitzki" userId="75cafe6b-2f2a-469b-85c4-eec3b9c972ba" providerId="ADAL" clId="{22364C70-387C-45A5-847B-30BBCAAA38B1}" dt="2020-05-28T09:09:20.741" v="1413" actId="790"/>
          <ac:spMkLst>
            <pc:docMk/>
            <pc:sldMk cId="277510243" sldId="311"/>
            <ac:spMk id="8" creationId="{0BA1F2B5-46DA-43EB-BE73-0168090B00CA}"/>
          </ac:spMkLst>
        </pc:spChg>
      </pc:sldChg>
      <pc:sldChg chg="add del ord modTransition">
        <pc:chgData name="Thomas Stensitzki" userId="75cafe6b-2f2a-469b-85c4-eec3b9c972ba" providerId="ADAL" clId="{22364C70-387C-45A5-847B-30BBCAAA38B1}" dt="2020-05-28T09:07:36.251" v="1175" actId="47"/>
        <pc:sldMkLst>
          <pc:docMk/>
          <pc:sldMk cId="1503944939" sldId="312"/>
        </pc:sldMkLst>
      </pc:sldChg>
      <pc:sldChg chg="addSp delSp modSp add del mod modTransition modClrScheme modShow chgLayout modNotes">
        <pc:chgData name="Thomas Stensitzki" userId="75cafe6b-2f2a-469b-85c4-eec3b9c972ba" providerId="ADAL" clId="{22364C70-387C-45A5-847B-30BBCAAA38B1}" dt="2020-05-30T11:16:33.629" v="2058" actId="47"/>
        <pc:sldMkLst>
          <pc:docMk/>
          <pc:sldMk cId="2393784415" sldId="313"/>
        </pc:sldMkLst>
        <pc:spChg chg="mod ord">
          <ac:chgData name="Thomas Stensitzki" userId="75cafe6b-2f2a-469b-85c4-eec3b9c972ba" providerId="ADAL" clId="{22364C70-387C-45A5-847B-30BBCAAA38B1}" dt="2020-05-28T09:09:20.305" v="1195" actId="790"/>
          <ac:spMkLst>
            <pc:docMk/>
            <pc:sldMk cId="2393784415" sldId="313"/>
            <ac:spMk id="2" creationId="{8A16B391-36DA-4FD3-95E3-C45E98AE4755}"/>
          </ac:spMkLst>
        </pc:spChg>
        <pc:spChg chg="del mod ord">
          <ac:chgData name="Thomas Stensitzki" userId="75cafe6b-2f2a-469b-85c4-eec3b9c972ba" providerId="ADAL" clId="{22364C70-387C-45A5-847B-30BBCAAA38B1}" dt="2020-05-28T08:50:40.349" v="813" actId="700"/>
          <ac:spMkLst>
            <pc:docMk/>
            <pc:sldMk cId="2393784415" sldId="313"/>
            <ac:spMk id="3" creationId="{AC3D40F7-F0F1-40B4-8A66-2D2A62BBC9CC}"/>
          </ac:spMkLst>
        </pc:spChg>
        <pc:spChg chg="add mod ord">
          <ac:chgData name="Thomas Stensitzki" userId="75cafe6b-2f2a-469b-85c4-eec3b9c972ba" providerId="ADAL" clId="{22364C70-387C-45A5-847B-30BBCAAA38B1}" dt="2020-05-28T09:09:20.307" v="1196" actId="790"/>
          <ac:spMkLst>
            <pc:docMk/>
            <pc:sldMk cId="2393784415" sldId="313"/>
            <ac:spMk id="4" creationId="{026E75B2-8E3A-4375-AC2C-ED689EDCE1C5}"/>
          </ac:spMkLst>
        </pc:spChg>
      </pc:sldChg>
      <pc:sldChg chg="modSp add del mod modTransition">
        <pc:chgData name="Thomas Stensitzki" userId="75cafe6b-2f2a-469b-85c4-eec3b9c972ba" providerId="ADAL" clId="{22364C70-387C-45A5-847B-30BBCAAA38B1}" dt="2020-05-28T09:08:05.605" v="1176" actId="47"/>
        <pc:sldMkLst>
          <pc:docMk/>
          <pc:sldMk cId="4225666140" sldId="314"/>
        </pc:sldMkLst>
        <pc:spChg chg="mod">
          <ac:chgData name="Thomas Stensitzki" userId="75cafe6b-2f2a-469b-85c4-eec3b9c972ba" providerId="ADAL" clId="{22364C70-387C-45A5-847B-30BBCAAA38B1}" dt="2020-05-28T08:51:12.763" v="819" actId="255"/>
          <ac:spMkLst>
            <pc:docMk/>
            <pc:sldMk cId="4225666140" sldId="314"/>
            <ac:spMk id="5" creationId="{8DFF3C50-4326-4090-9563-39166FAE160D}"/>
          </ac:spMkLst>
        </pc:spChg>
      </pc:sldChg>
      <pc:sldChg chg="modSp new del mod">
        <pc:chgData name="Thomas Stensitzki" userId="75cafe6b-2f2a-469b-85c4-eec3b9c972ba" providerId="ADAL" clId="{22364C70-387C-45A5-847B-30BBCAAA38B1}" dt="2020-05-28T08:52:41.405" v="831" actId="47"/>
        <pc:sldMkLst>
          <pc:docMk/>
          <pc:sldMk cId="4102809605" sldId="315"/>
        </pc:sldMkLst>
        <pc:spChg chg="mod">
          <ac:chgData name="Thomas Stensitzki" userId="75cafe6b-2f2a-469b-85c4-eec3b9c972ba" providerId="ADAL" clId="{22364C70-387C-45A5-847B-30BBCAAA38B1}" dt="2020-05-28T08:52:36.812" v="828" actId="27636"/>
          <ac:spMkLst>
            <pc:docMk/>
            <pc:sldMk cId="4102809605" sldId="315"/>
            <ac:spMk id="2" creationId="{21683185-CBA1-44F5-84A9-9756BEA8E4E0}"/>
          </ac:spMkLst>
        </pc:spChg>
      </pc:sldChg>
      <pc:sldChg chg="modSp add del mod ord modTransition modNotes">
        <pc:chgData name="Thomas Stensitzki" userId="75cafe6b-2f2a-469b-85c4-eec3b9c972ba" providerId="ADAL" clId="{22364C70-387C-45A5-847B-30BBCAAA38B1}" dt="2020-05-30T11:16:55.116" v="2061" actId="18676"/>
        <pc:sldMkLst>
          <pc:docMk/>
          <pc:sldMk cId="2948053778" sldId="316"/>
        </pc:sldMkLst>
        <pc:spChg chg="mod">
          <ac:chgData name="Thomas Stensitzki" userId="75cafe6b-2f2a-469b-85c4-eec3b9c972ba" providerId="ADAL" clId="{22364C70-387C-45A5-847B-30BBCAAA38B1}" dt="2020-05-28T09:09:20.705" v="1398" actId="790"/>
          <ac:spMkLst>
            <pc:docMk/>
            <pc:sldMk cId="2948053778" sldId="316"/>
            <ac:spMk id="2" creationId="{8A16B391-36DA-4FD3-95E3-C45E98AE4755}"/>
          </ac:spMkLst>
        </pc:spChg>
        <pc:spChg chg="mod">
          <ac:chgData name="Thomas Stensitzki" userId="75cafe6b-2f2a-469b-85c4-eec3b9c972ba" providerId="ADAL" clId="{22364C70-387C-45A5-847B-30BBCAAA38B1}" dt="2020-05-28T09:09:20.707" v="1399" actId="790"/>
          <ac:spMkLst>
            <pc:docMk/>
            <pc:sldMk cId="2948053778" sldId="316"/>
            <ac:spMk id="4" creationId="{026E75B2-8E3A-4375-AC2C-ED689EDCE1C5}"/>
          </ac:spMkLst>
        </pc:spChg>
      </pc:sldChg>
      <pc:sldChg chg="modSp add del mod ord modTransition modNotes">
        <pc:chgData name="Thomas Stensitzki" userId="75cafe6b-2f2a-469b-85c4-eec3b9c972ba" providerId="ADAL" clId="{22364C70-387C-45A5-847B-30BBCAAA38B1}" dt="2020-05-30T11:17:12.293" v="2063" actId="47"/>
        <pc:sldMkLst>
          <pc:docMk/>
          <pc:sldMk cId="438738013" sldId="317"/>
        </pc:sldMkLst>
        <pc:spChg chg="mod">
          <ac:chgData name="Thomas Stensitzki" userId="75cafe6b-2f2a-469b-85c4-eec3b9c972ba" providerId="ADAL" clId="{22364C70-387C-45A5-847B-30BBCAAA38B1}" dt="2020-05-28T09:09:20.712" v="1402" actId="790"/>
          <ac:spMkLst>
            <pc:docMk/>
            <pc:sldMk cId="438738013" sldId="317"/>
            <ac:spMk id="2" creationId="{8A16B391-36DA-4FD3-95E3-C45E98AE4755}"/>
          </ac:spMkLst>
        </pc:spChg>
        <pc:spChg chg="mod">
          <ac:chgData name="Thomas Stensitzki" userId="75cafe6b-2f2a-469b-85c4-eec3b9c972ba" providerId="ADAL" clId="{22364C70-387C-45A5-847B-30BBCAAA38B1}" dt="2020-05-28T09:09:20.713" v="1403" actId="790"/>
          <ac:spMkLst>
            <pc:docMk/>
            <pc:sldMk cId="438738013" sldId="317"/>
            <ac:spMk id="4" creationId="{026E75B2-8E3A-4375-AC2C-ED689EDCE1C5}"/>
          </ac:spMkLst>
        </pc:spChg>
      </pc:sldChg>
      <pc:sldChg chg="addSp delSp modSp add del mod ord modTransition modClrScheme chgLayout modNotes">
        <pc:chgData name="Thomas Stensitzki" userId="75cafe6b-2f2a-469b-85c4-eec3b9c972ba" providerId="ADAL" clId="{22364C70-387C-45A5-847B-30BBCAAA38B1}" dt="2020-05-30T11:17:15.029" v="2064" actId="47"/>
        <pc:sldMkLst>
          <pc:docMk/>
          <pc:sldMk cId="1036023474" sldId="318"/>
        </pc:sldMkLst>
        <pc:spChg chg="mod ord">
          <ac:chgData name="Thomas Stensitzki" userId="75cafe6b-2f2a-469b-85c4-eec3b9c972ba" providerId="ADAL" clId="{22364C70-387C-45A5-847B-30BBCAAA38B1}" dt="2020-05-28T09:09:20.717" v="1406" actId="790"/>
          <ac:spMkLst>
            <pc:docMk/>
            <pc:sldMk cId="1036023474" sldId="318"/>
            <ac:spMk id="2" creationId="{8A16B391-36DA-4FD3-95E3-C45E98AE4755}"/>
          </ac:spMkLst>
        </pc:spChg>
        <pc:spChg chg="add mod ord">
          <ac:chgData name="Thomas Stensitzki" userId="75cafe6b-2f2a-469b-85c4-eec3b9c972ba" providerId="ADAL" clId="{22364C70-387C-45A5-847B-30BBCAAA38B1}" dt="2020-05-28T09:09:20.722" v="1407" actId="790"/>
          <ac:spMkLst>
            <pc:docMk/>
            <pc:sldMk cId="1036023474" sldId="318"/>
            <ac:spMk id="3" creationId="{573C0C46-7B93-48B8-A7F2-DAAB5F276529}"/>
          </ac:spMkLst>
        </pc:spChg>
        <pc:spChg chg="del mod ord">
          <ac:chgData name="Thomas Stensitzki" userId="75cafe6b-2f2a-469b-85c4-eec3b9c972ba" providerId="ADAL" clId="{22364C70-387C-45A5-847B-30BBCAAA38B1}" dt="2020-05-28T08:55:58.731" v="1018" actId="700"/>
          <ac:spMkLst>
            <pc:docMk/>
            <pc:sldMk cId="1036023474" sldId="318"/>
            <ac:spMk id="4" creationId="{026E75B2-8E3A-4375-AC2C-ED689EDCE1C5}"/>
          </ac:spMkLst>
        </pc:spChg>
        <pc:spChg chg="add mod ord">
          <ac:chgData name="Thomas Stensitzki" userId="75cafe6b-2f2a-469b-85c4-eec3b9c972ba" providerId="ADAL" clId="{22364C70-387C-45A5-847B-30BBCAAA38B1}" dt="2020-05-28T09:09:20.723" v="1408" actId="790"/>
          <ac:spMkLst>
            <pc:docMk/>
            <pc:sldMk cId="1036023474" sldId="318"/>
            <ac:spMk id="5" creationId="{024CC7D5-3FA9-45F4-9CA5-065637719796}"/>
          </ac:spMkLst>
        </pc:spChg>
        <pc:spChg chg="add del mod ord">
          <ac:chgData name="Thomas Stensitzki" userId="75cafe6b-2f2a-469b-85c4-eec3b9c972ba" providerId="ADAL" clId="{22364C70-387C-45A5-847B-30BBCAAA38B1}" dt="2020-05-28T08:56:18.993" v="1020" actId="478"/>
          <ac:spMkLst>
            <pc:docMk/>
            <pc:sldMk cId="1036023474" sldId="318"/>
            <ac:spMk id="6" creationId="{A65010C7-C315-4CBB-99E5-6A9B15998F60}"/>
          </ac:spMkLst>
        </pc:spChg>
      </pc:sldChg>
    </pc:docChg>
  </pc:docChgLst>
  <pc:docChgLst>
    <pc:chgData name="Thomas Stensitzki" userId="75cafe6b-2f2a-469b-85c4-eec3b9c972ba" providerId="ADAL" clId="{687C2785-0954-4AD9-89C6-947A3940FF7B}"/>
    <pc:docChg chg="undo custSel addSld modSld sldOrd">
      <pc:chgData name="Thomas Stensitzki" userId="75cafe6b-2f2a-469b-85c4-eec3b9c972ba" providerId="ADAL" clId="{687C2785-0954-4AD9-89C6-947A3940FF7B}" dt="2019-11-14T10:25:11.812" v="810"/>
      <pc:docMkLst>
        <pc:docMk/>
      </pc:docMkLst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353304963" sldId="256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3986585176" sldId="258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577492687" sldId="259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28132323" sldId="274"/>
        </pc:sldMkLst>
      </pc:sldChg>
      <pc:sldChg chg="addSp delSp modSp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2855165129" sldId="277"/>
        </pc:sldMkLst>
        <pc:spChg chg="add del">
          <ac:chgData name="Thomas Stensitzki" userId="75cafe6b-2f2a-469b-85c4-eec3b9c972ba" providerId="ADAL" clId="{687C2785-0954-4AD9-89C6-947A3940FF7B}" dt="2019-11-13T08:57:20.556" v="409"/>
          <ac:spMkLst>
            <pc:docMk/>
            <pc:sldMk cId="2855165129" sldId="277"/>
            <ac:spMk id="5" creationId="{6B34399F-725A-4E89-BEB5-8993983DEDC9}"/>
          </ac:spMkLst>
        </pc:spChg>
        <pc:grpChg chg="add">
          <ac:chgData name="Thomas Stensitzki" userId="75cafe6b-2f2a-469b-85c4-eec3b9c972ba" providerId="ADAL" clId="{687C2785-0954-4AD9-89C6-947A3940FF7B}" dt="2019-11-14T10:12:41.859" v="802"/>
          <ac:grpSpMkLst>
            <pc:docMk/>
            <pc:sldMk cId="2855165129" sldId="277"/>
            <ac:grpSpMk id="9" creationId="{724C2ABE-F85C-439F-8D9E-9AFFED56578F}"/>
          </ac:grpSpMkLst>
        </pc:grpChg>
        <pc:picChg chg="mod">
          <ac:chgData name="Thomas Stensitzki" userId="75cafe6b-2f2a-469b-85c4-eec3b9c972ba" providerId="ADAL" clId="{687C2785-0954-4AD9-89C6-947A3940FF7B}" dt="2019-11-14T10:13:06.161" v="803" actId="1076"/>
          <ac:picMkLst>
            <pc:docMk/>
            <pc:sldMk cId="2855165129" sldId="277"/>
            <ac:picMk id="8" creationId="{A80C8C24-3ADA-4322-B0F2-50CCA426992B}"/>
          </ac:picMkLst>
        </pc:picChg>
      </pc:sldChg>
      <pc:sldChg chg="delSp modSp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2116996515" sldId="278"/>
        </pc:sldMkLst>
        <pc:spChg chg="mod">
          <ac:chgData name="Thomas Stensitzki" userId="75cafe6b-2f2a-469b-85c4-eec3b9c972ba" providerId="ADAL" clId="{687C2785-0954-4AD9-89C6-947A3940FF7B}" dt="2019-11-13T09:04:52.305" v="515" actId="20577"/>
          <ac:spMkLst>
            <pc:docMk/>
            <pc:sldMk cId="2116996515" sldId="278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5:20.785" v="313"/>
          <ac:spMkLst>
            <pc:docMk/>
            <pc:sldMk cId="2116996515" sldId="278"/>
            <ac:spMk id="6" creationId="{2A0D12C0-FAC2-4E0B-8157-A3363555BFF4}"/>
          </ac:spMkLst>
        </pc:spChg>
        <pc:grpChg chg="del">
          <ac:chgData name="Thomas Stensitzki" userId="75cafe6b-2f2a-469b-85c4-eec3b9c972ba" providerId="ADAL" clId="{687C2785-0954-4AD9-89C6-947A3940FF7B}" dt="2019-11-13T08:49:22.775" v="1" actId="478"/>
          <ac:grpSpMkLst>
            <pc:docMk/>
            <pc:sldMk cId="2116996515" sldId="278"/>
            <ac:grpSpMk id="8" creationId="{3792915B-1576-4720-BD73-706A9916B599}"/>
          </ac:grpSpMkLst>
        </pc:grpChg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3916536378" sldId="279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234142031" sldId="280"/>
        </pc:sldMkLst>
      </pc:sldChg>
      <pc:sldChg chg="modSp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3270119054" sldId="281"/>
        </pc:sldMkLst>
        <pc:spChg chg="mod">
          <ac:chgData name="Thomas Stensitzki" userId="75cafe6b-2f2a-469b-85c4-eec3b9c972ba" providerId="ADAL" clId="{687C2785-0954-4AD9-89C6-947A3940FF7B}" dt="2019-11-13T08:53:05.762" v="199" actId="20577"/>
          <ac:spMkLst>
            <pc:docMk/>
            <pc:sldMk cId="3270119054" sldId="281"/>
            <ac:spMk id="3" creationId="{846837F5-A0F6-4309-9948-A01CACBBEB0B}"/>
          </ac:spMkLst>
        </pc:spChg>
      </pc:sldChg>
      <pc:sldChg chg="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1392728178" sldId="282"/>
        </pc:sldMkLst>
      </pc:sldChg>
      <pc:sldChg chg="delSp modSp add ord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1415593282" sldId="283"/>
        </pc:sldMkLst>
        <pc:spChg chg="mod">
          <ac:chgData name="Thomas Stensitzki" userId="75cafe6b-2f2a-469b-85c4-eec3b9c972ba" providerId="ADAL" clId="{687C2785-0954-4AD9-89C6-947A3940FF7B}" dt="2019-11-13T09:05:25.439" v="542" actId="5793"/>
          <ac:spMkLst>
            <pc:docMk/>
            <pc:sldMk cId="1415593282" sldId="283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3:47.334" v="233" actId="20577"/>
          <ac:spMkLst>
            <pc:docMk/>
            <pc:sldMk cId="1415593282" sldId="283"/>
            <ac:spMk id="6" creationId="{2A0D12C0-FAC2-4E0B-8157-A3363555BFF4}"/>
          </ac:spMkLst>
        </pc:spChg>
        <pc:grpChg chg="del">
          <ac:chgData name="Thomas Stensitzki" userId="75cafe6b-2f2a-469b-85c4-eec3b9c972ba" providerId="ADAL" clId="{687C2785-0954-4AD9-89C6-947A3940FF7B}" dt="2019-11-13T08:50:54.583" v="138" actId="478"/>
          <ac:grpSpMkLst>
            <pc:docMk/>
            <pc:sldMk cId="1415593282" sldId="283"/>
            <ac:grpSpMk id="8" creationId="{3792915B-1576-4720-BD73-706A9916B599}"/>
          </ac:grpSpMkLst>
        </pc:grpChg>
      </pc:sldChg>
      <pc:sldChg chg="delSp modSp add mod modTransition modAnim modShow">
        <pc:chgData name="Thomas Stensitzki" userId="75cafe6b-2f2a-469b-85c4-eec3b9c972ba" providerId="ADAL" clId="{687C2785-0954-4AD9-89C6-947A3940FF7B}" dt="2019-11-14T10:25:11.812" v="810"/>
        <pc:sldMkLst>
          <pc:docMk/>
          <pc:sldMk cId="1875455003" sldId="284"/>
        </pc:sldMkLst>
        <pc:spChg chg="mod">
          <ac:chgData name="Thomas Stensitzki" userId="75cafe6b-2f2a-469b-85c4-eec3b9c972ba" providerId="ADAL" clId="{687C2785-0954-4AD9-89C6-947A3940FF7B}" dt="2019-11-14T08:53:54.781" v="800" actId="6549"/>
          <ac:spMkLst>
            <pc:docMk/>
            <pc:sldMk cId="1875455003" sldId="284"/>
            <ac:spMk id="3" creationId="{39E4D204-8D17-4FFE-BDD3-1563F2E75315}"/>
          </ac:spMkLst>
        </pc:spChg>
        <pc:spChg chg="mod">
          <ac:chgData name="Thomas Stensitzki" userId="75cafe6b-2f2a-469b-85c4-eec3b9c972ba" providerId="ADAL" clId="{687C2785-0954-4AD9-89C6-947A3940FF7B}" dt="2019-11-14T08:53:33.198" v="788" actId="5793"/>
          <ac:spMkLst>
            <pc:docMk/>
            <pc:sldMk cId="1875455003" sldId="284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5:14.278" v="312" actId="1076"/>
          <ac:spMkLst>
            <pc:docMk/>
            <pc:sldMk cId="1875455003" sldId="284"/>
            <ac:spMk id="6" creationId="{2A0D12C0-FAC2-4E0B-8157-A3363555BFF4}"/>
          </ac:spMkLst>
        </pc:spChg>
        <pc:grpChg chg="del">
          <ac:chgData name="Thomas Stensitzki" userId="75cafe6b-2f2a-469b-85c4-eec3b9c972ba" providerId="ADAL" clId="{687C2785-0954-4AD9-89C6-947A3940FF7B}" dt="2019-11-14T10:12:30.327" v="801"/>
          <ac:grpSpMkLst>
            <pc:docMk/>
            <pc:sldMk cId="1875455003" sldId="284"/>
            <ac:grpSpMk id="8" creationId="{3792915B-1576-4720-BD73-706A9916B599}"/>
          </ac:grpSpMkLst>
        </pc:grpChg>
      </pc:sldChg>
      <pc:sldChg chg="modSp add ord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3014089621" sldId="285"/>
        </pc:sldMkLst>
        <pc:spChg chg="mod">
          <ac:chgData name="Thomas Stensitzki" userId="75cafe6b-2f2a-469b-85c4-eec3b9c972ba" providerId="ADAL" clId="{687C2785-0954-4AD9-89C6-947A3940FF7B}" dt="2019-11-14T08:52:54.505" v="711" actId="20577"/>
          <ac:spMkLst>
            <pc:docMk/>
            <pc:sldMk cId="3014089621" sldId="285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8:14.316" v="413"/>
          <ac:spMkLst>
            <pc:docMk/>
            <pc:sldMk cId="3014089621" sldId="285"/>
            <ac:spMk id="6" creationId="{2A0D12C0-FAC2-4E0B-8157-A3363555BFF4}"/>
          </ac:spMkLst>
        </pc:spChg>
      </pc:sldChg>
    </pc:docChg>
  </pc:docChgLst>
  <pc:docChgLst>
    <pc:chgData name="Thomas Stensitzki" userId="75cafe6b-2f2a-469b-85c4-eec3b9c972ba" providerId="ADAL" clId="{280FCD49-CF1B-46E6-A5B0-F667093A942C}"/>
    <pc:docChg chg="undo redo custSel addSld delSld modSld sldOrd modSection">
      <pc:chgData name="Thomas Stensitzki" userId="75cafe6b-2f2a-469b-85c4-eec3b9c972ba" providerId="ADAL" clId="{280FCD49-CF1B-46E6-A5B0-F667093A942C}" dt="2021-11-04T18:28:53.588" v="3668" actId="729"/>
      <pc:docMkLst>
        <pc:docMk/>
      </pc:docMkLst>
      <pc:sldChg chg="modSp mod">
        <pc:chgData name="Thomas Stensitzki" userId="75cafe6b-2f2a-469b-85c4-eec3b9c972ba" providerId="ADAL" clId="{280FCD49-CF1B-46E6-A5B0-F667093A942C}" dt="2021-11-04T09:23:48.661" v="3631"/>
        <pc:sldMkLst>
          <pc:docMk/>
          <pc:sldMk cId="353304963" sldId="256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53304963" sldId="256"/>
            <ac:spMk id="3" creationId="{00000000-0000-0000-0000-000000000000}"/>
          </ac:spMkLst>
        </pc:spChg>
      </pc:sldChg>
      <pc:sldChg chg="modSp mod">
        <pc:chgData name="Thomas Stensitzki" userId="75cafe6b-2f2a-469b-85c4-eec3b9c972ba" providerId="ADAL" clId="{280FCD49-CF1B-46E6-A5B0-F667093A942C}" dt="2021-11-04T09:27:29.860" v="3641" actId="255"/>
        <pc:sldMkLst>
          <pc:docMk/>
          <pc:sldMk cId="3986585176" sldId="258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986585176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280FCD49-CF1B-46E6-A5B0-F667093A942C}" dt="2021-11-04T09:27:29.860" v="3641" actId="255"/>
          <ac:spMkLst>
            <pc:docMk/>
            <pc:sldMk cId="3986585176" sldId="258"/>
            <ac:spMk id="3" creationId="{00000000-0000-0000-0000-000000000000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986585176" sldId="258"/>
            <ac:spMk id="4" creationId="{00000000-0000-0000-0000-000000000000}"/>
          </ac:spMkLst>
        </pc:spChg>
        <pc:picChg chg="mod">
          <ac:chgData name="Thomas Stensitzki" userId="75cafe6b-2f2a-469b-85c4-eec3b9c972ba" providerId="ADAL" clId="{280FCD49-CF1B-46E6-A5B0-F667093A942C}" dt="2021-10-30T12:25:31.808" v="77" actId="1038"/>
          <ac:picMkLst>
            <pc:docMk/>
            <pc:sldMk cId="3986585176" sldId="258"/>
            <ac:picMk id="5" creationId="{D7A85379-0537-405A-8F96-DB1B8BC3EE21}"/>
          </ac:picMkLst>
        </pc:picChg>
      </pc:sldChg>
      <pc:sldChg chg="modSp mod ord">
        <pc:chgData name="Thomas Stensitzki" userId="75cafe6b-2f2a-469b-85c4-eec3b9c972ba" providerId="ADAL" clId="{280FCD49-CF1B-46E6-A5B0-F667093A942C}" dt="2021-11-04T09:23:48.661" v="3631"/>
        <pc:sldMkLst>
          <pc:docMk/>
          <pc:sldMk cId="1120448015" sldId="283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120448015" sldId="283"/>
            <ac:spMk id="8" creationId="{7753695D-B6FA-4781-8B90-054226157255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120448015" sldId="283"/>
            <ac:spMk id="9" creationId="{7ACD5D95-6785-48AB-A08F-F511798021FE}"/>
          </ac:spMkLst>
        </pc:spChg>
      </pc:sldChg>
      <pc:sldChg chg="modSp">
        <pc:chgData name="Thomas Stensitzki" userId="75cafe6b-2f2a-469b-85c4-eec3b9c972ba" providerId="ADAL" clId="{280FCD49-CF1B-46E6-A5B0-F667093A942C}" dt="2021-11-04T09:27:44.281" v="3642" actId="255"/>
        <pc:sldMkLst>
          <pc:docMk/>
          <pc:sldMk cId="2726485231" sldId="284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726485231" sldId="284"/>
            <ac:spMk id="2" creationId="{849854A8-3F65-416E-BB4A-7828E99102DB}"/>
          </ac:spMkLst>
        </pc:spChg>
        <pc:spChg chg="mod">
          <ac:chgData name="Thomas Stensitzki" userId="75cafe6b-2f2a-469b-85c4-eec3b9c972ba" providerId="ADAL" clId="{280FCD49-CF1B-46E6-A5B0-F667093A942C}" dt="2021-11-04T09:27:44.281" v="3642" actId="255"/>
          <ac:spMkLst>
            <pc:docMk/>
            <pc:sldMk cId="2726485231" sldId="284"/>
            <ac:spMk id="3" creationId="{852D7D7E-BA81-48A9-8091-7743702661A8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726485231" sldId="284"/>
            <ac:spMk id="4" creationId="{382FC36A-51A0-467C-9CAE-A10F77DA0B33}"/>
          </ac:spMkLst>
        </pc:spChg>
      </pc:sldChg>
      <pc:sldChg chg="addSp modSp mod modAnim modShow">
        <pc:chgData name="Thomas Stensitzki" userId="75cafe6b-2f2a-469b-85c4-eec3b9c972ba" providerId="ADAL" clId="{280FCD49-CF1B-46E6-A5B0-F667093A942C}" dt="2021-11-04T18:28:53.588" v="3668" actId="729"/>
        <pc:sldMkLst>
          <pc:docMk/>
          <pc:sldMk cId="1572723851" sldId="285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572723851" sldId="285"/>
            <ac:spMk id="2" creationId="{988D7DC9-3E02-4219-843F-488595267DED}"/>
          </ac:spMkLst>
        </pc:spChg>
        <pc:spChg chg="mod">
          <ac:chgData name="Thomas Stensitzki" userId="75cafe6b-2f2a-469b-85c4-eec3b9c972ba" providerId="ADAL" clId="{280FCD49-CF1B-46E6-A5B0-F667093A942C}" dt="2021-11-04T09:26:13.098" v="3633" actId="108"/>
          <ac:spMkLst>
            <pc:docMk/>
            <pc:sldMk cId="1572723851" sldId="285"/>
            <ac:spMk id="3" creationId="{76EC1D6E-0321-4DAA-889D-F932DA5F2EF8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572723851" sldId="285"/>
            <ac:spMk id="4" creationId="{11AA0296-D8CB-4E1E-9730-1AA39B9774F4}"/>
          </ac:spMkLst>
        </pc:spChg>
        <pc:picChg chg="mod">
          <ac:chgData name="Thomas Stensitzki" userId="75cafe6b-2f2a-469b-85c4-eec3b9c972ba" providerId="ADAL" clId="{280FCD49-CF1B-46E6-A5B0-F667093A942C}" dt="2021-11-03T10:03:06.034" v="2961" actId="1076"/>
          <ac:picMkLst>
            <pc:docMk/>
            <pc:sldMk cId="1572723851" sldId="285"/>
            <ac:picMk id="6" creationId="{B2055710-07B5-43BA-BD6F-98374637E644}"/>
          </ac:picMkLst>
        </pc:picChg>
        <pc:picChg chg="add mod">
          <ac:chgData name="Thomas Stensitzki" userId="75cafe6b-2f2a-469b-85c4-eec3b9c972ba" providerId="ADAL" clId="{280FCD49-CF1B-46E6-A5B0-F667093A942C}" dt="2021-11-03T10:05:30.575" v="2990" actId="1076"/>
          <ac:picMkLst>
            <pc:docMk/>
            <pc:sldMk cId="1572723851" sldId="285"/>
            <ac:picMk id="7" creationId="{BD272D56-82CF-412B-91DB-C44598568C42}"/>
          </ac:picMkLst>
        </pc:picChg>
        <pc:picChg chg="mod ord">
          <ac:chgData name="Thomas Stensitzki" userId="75cafe6b-2f2a-469b-85c4-eec3b9c972ba" providerId="ADAL" clId="{280FCD49-CF1B-46E6-A5B0-F667093A942C}" dt="2021-11-03T10:03:36.295" v="2968" actId="1076"/>
          <ac:picMkLst>
            <pc:docMk/>
            <pc:sldMk cId="1572723851" sldId="285"/>
            <ac:picMk id="8" creationId="{3D1AF180-A10D-4344-A819-DDCDAEA103A5}"/>
          </ac:picMkLst>
        </pc:picChg>
      </pc:sldChg>
      <pc:sldChg chg="modSp mod">
        <pc:chgData name="Thomas Stensitzki" userId="75cafe6b-2f2a-469b-85c4-eec3b9c972ba" providerId="ADAL" clId="{280FCD49-CF1B-46E6-A5B0-F667093A942C}" dt="2021-11-04T09:28:36.084" v="3667" actId="20577"/>
        <pc:sldMkLst>
          <pc:docMk/>
          <pc:sldMk cId="848503523" sldId="286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848503523" sldId="286"/>
            <ac:spMk id="2" creationId="{65E62FD1-8696-4A34-B061-3373BFCBD06C}"/>
          </ac:spMkLst>
        </pc:spChg>
        <pc:spChg chg="mod">
          <ac:chgData name="Thomas Stensitzki" userId="75cafe6b-2f2a-469b-85c4-eec3b9c972ba" providerId="ADAL" clId="{280FCD49-CF1B-46E6-A5B0-F667093A942C}" dt="2021-11-04T09:28:36.084" v="3667" actId="20577"/>
          <ac:spMkLst>
            <pc:docMk/>
            <pc:sldMk cId="848503523" sldId="286"/>
            <ac:spMk id="3" creationId="{5A9BE1F8-07C8-4A22-93C8-5725DE760CD3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848503523" sldId="286"/>
            <ac:spMk id="4" creationId="{8557E012-3DD2-45DD-AA48-E53C4BF760F4}"/>
          </ac:spMkLst>
        </pc:spChg>
      </pc:sldChg>
      <pc:sldChg chg="modSp">
        <pc:chgData name="Thomas Stensitzki" userId="75cafe6b-2f2a-469b-85c4-eec3b9c972ba" providerId="ADAL" clId="{280FCD49-CF1B-46E6-A5B0-F667093A942C}" dt="2021-11-04T09:23:48.661" v="3631"/>
        <pc:sldMkLst>
          <pc:docMk/>
          <pc:sldMk cId="1800322613" sldId="287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800322613" sldId="287"/>
            <ac:spMk id="8" creationId="{7753695D-B6FA-4781-8B90-054226157255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800322613" sldId="287"/>
            <ac:spMk id="9" creationId="{7ACD5D95-6785-48AB-A08F-F511798021FE}"/>
          </ac:spMkLst>
        </pc:spChg>
      </pc:sldChg>
      <pc:sldChg chg="del">
        <pc:chgData name="Thomas Stensitzki" userId="75cafe6b-2f2a-469b-85c4-eec3b9c972ba" providerId="ADAL" clId="{280FCD49-CF1B-46E6-A5B0-F667093A942C}" dt="2021-10-30T12:26:43.823" v="89" actId="47"/>
        <pc:sldMkLst>
          <pc:docMk/>
          <pc:sldMk cId="133653931" sldId="288"/>
        </pc:sldMkLst>
      </pc:sldChg>
      <pc:sldChg chg="modSp mod modAnim">
        <pc:chgData name="Thomas Stensitzki" userId="75cafe6b-2f2a-469b-85c4-eec3b9c972ba" providerId="ADAL" clId="{280FCD49-CF1B-46E6-A5B0-F667093A942C}" dt="2021-11-04T09:23:48.661" v="3631"/>
        <pc:sldMkLst>
          <pc:docMk/>
          <pc:sldMk cId="1729807556" sldId="289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729807556" sldId="289"/>
            <ac:spMk id="2" creationId="{189590F3-4E42-4E3D-A195-DA206CA2A3A2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729807556" sldId="289"/>
            <ac:spMk id="3" creationId="{4AAB9D3C-DC48-4B19-B25D-3FCAA5D18CAC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729807556" sldId="289"/>
            <ac:spMk id="4" creationId="{5967C4F6-5691-4C11-AF28-AC8861B93550}"/>
          </ac:spMkLst>
        </pc:spChg>
      </pc:sldChg>
      <pc:sldChg chg="del">
        <pc:chgData name="Thomas Stensitzki" userId="75cafe6b-2f2a-469b-85c4-eec3b9c972ba" providerId="ADAL" clId="{280FCD49-CF1B-46E6-A5B0-F667093A942C}" dt="2021-10-30T13:12:27.646" v="319" actId="47"/>
        <pc:sldMkLst>
          <pc:docMk/>
          <pc:sldMk cId="1538979864" sldId="290"/>
        </pc:sldMkLst>
      </pc:sldChg>
      <pc:sldChg chg="del">
        <pc:chgData name="Thomas Stensitzki" userId="75cafe6b-2f2a-469b-85c4-eec3b9c972ba" providerId="ADAL" clId="{280FCD49-CF1B-46E6-A5B0-F667093A942C}" dt="2021-10-30T13:12:28.899" v="320" actId="47"/>
        <pc:sldMkLst>
          <pc:docMk/>
          <pc:sldMk cId="625306503" sldId="291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761415241" sldId="292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96453417" sldId="293"/>
        </pc:sldMkLst>
      </pc:sldChg>
      <pc:sldChg chg="modSp mod">
        <pc:chgData name="Thomas Stensitzki" userId="75cafe6b-2f2a-469b-85c4-eec3b9c972ba" providerId="ADAL" clId="{280FCD49-CF1B-46E6-A5B0-F667093A942C}" dt="2021-11-04T09:23:48.661" v="3631"/>
        <pc:sldMkLst>
          <pc:docMk/>
          <pc:sldMk cId="1527107871" sldId="294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527107871" sldId="294"/>
            <ac:spMk id="2" creationId="{94FE4617-272C-4ADB-A104-17BEF13DE290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527107871" sldId="294"/>
            <ac:spMk id="3" creationId="{E6457753-D74F-4F38-BD66-C620F82E540F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527107871" sldId="294"/>
            <ac:spMk id="4" creationId="{1409B823-461F-468C-9F09-4B59251FE12B}"/>
          </ac:spMkLst>
        </pc:spChg>
      </pc:sldChg>
      <pc:sldChg chg="modSp add mod ord modAnim">
        <pc:chgData name="Thomas Stensitzki" userId="75cafe6b-2f2a-469b-85c4-eec3b9c972ba" providerId="ADAL" clId="{280FCD49-CF1B-46E6-A5B0-F667093A942C}" dt="2021-11-04T09:23:48.661" v="3631"/>
        <pc:sldMkLst>
          <pc:docMk/>
          <pc:sldMk cId="1425809021" sldId="295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425809021" sldId="295"/>
            <ac:spMk id="2" creationId="{189590F3-4E42-4E3D-A195-DA206CA2A3A2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425809021" sldId="295"/>
            <ac:spMk id="3" creationId="{4AAB9D3C-DC48-4B19-B25D-3FCAA5D18CAC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425809021" sldId="295"/>
            <ac:spMk id="4" creationId="{5967C4F6-5691-4C11-AF28-AC8861B93550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494450289" sldId="295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758494623" sldId="296"/>
        </pc:sldMkLst>
      </pc:sldChg>
      <pc:sldChg chg="modSp new mod">
        <pc:chgData name="Thomas Stensitzki" userId="75cafe6b-2f2a-469b-85c4-eec3b9c972ba" providerId="ADAL" clId="{280FCD49-CF1B-46E6-A5B0-F667093A942C}" dt="2021-11-04T09:23:48.661" v="3631"/>
        <pc:sldMkLst>
          <pc:docMk/>
          <pc:sldMk cId="2850902925" sldId="296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850902925" sldId="296"/>
            <ac:spMk id="2" creationId="{C6A24666-6D7D-4B1C-AB14-A23CC749B429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850902925" sldId="296"/>
            <ac:spMk id="3" creationId="{981A5F64-C9A7-4F55-A257-48A2926813C5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850902925" sldId="296"/>
            <ac:spMk id="4" creationId="{894C2256-D44A-480B-ADAB-24466F744A8A}"/>
          </ac:spMkLst>
        </pc:spChg>
      </pc:sldChg>
      <pc:sldChg chg="addSp delSp modSp add del mod">
        <pc:chgData name="Thomas Stensitzki" userId="75cafe6b-2f2a-469b-85c4-eec3b9c972ba" providerId="ADAL" clId="{280FCD49-CF1B-46E6-A5B0-F667093A942C}" dt="2021-10-30T13:25:43.657" v="542" actId="2696"/>
        <pc:sldMkLst>
          <pc:docMk/>
          <pc:sldMk cId="2898196944" sldId="296"/>
        </pc:sldMkLst>
        <pc:spChg chg="del">
          <ac:chgData name="Thomas Stensitzki" userId="75cafe6b-2f2a-469b-85c4-eec3b9c972ba" providerId="ADAL" clId="{280FCD49-CF1B-46E6-A5B0-F667093A942C}" dt="2021-10-30T13:23:44.735" v="540" actId="478"/>
          <ac:spMkLst>
            <pc:docMk/>
            <pc:sldMk cId="2898196944" sldId="296"/>
            <ac:spMk id="2" creationId="{00000000-0000-0000-0000-000000000000}"/>
          </ac:spMkLst>
        </pc:spChg>
        <pc:spChg chg="del">
          <ac:chgData name="Thomas Stensitzki" userId="75cafe6b-2f2a-469b-85c4-eec3b9c972ba" providerId="ADAL" clId="{280FCD49-CF1B-46E6-A5B0-F667093A942C}" dt="2021-10-30T13:23:47.258" v="541" actId="478"/>
          <ac:spMkLst>
            <pc:docMk/>
            <pc:sldMk cId="2898196944" sldId="296"/>
            <ac:spMk id="3" creationId="{00000000-0000-0000-0000-000000000000}"/>
          </ac:spMkLst>
        </pc:spChg>
        <pc:spChg chg="add mod">
          <ac:chgData name="Thomas Stensitzki" userId="75cafe6b-2f2a-469b-85c4-eec3b9c972ba" providerId="ADAL" clId="{280FCD49-CF1B-46E6-A5B0-F667093A942C}" dt="2021-10-30T13:23:44.735" v="540" actId="478"/>
          <ac:spMkLst>
            <pc:docMk/>
            <pc:sldMk cId="2898196944" sldId="296"/>
            <ac:spMk id="5" creationId="{FE61FAC7-51A3-4DB4-AD97-90C0CAB71621}"/>
          </ac:spMkLst>
        </pc:spChg>
        <pc:spChg chg="add mod">
          <ac:chgData name="Thomas Stensitzki" userId="75cafe6b-2f2a-469b-85c4-eec3b9c972ba" providerId="ADAL" clId="{280FCD49-CF1B-46E6-A5B0-F667093A942C}" dt="2021-10-30T13:23:47.258" v="541" actId="478"/>
          <ac:spMkLst>
            <pc:docMk/>
            <pc:sldMk cId="2898196944" sldId="296"/>
            <ac:spMk id="7" creationId="{7B7D2772-603D-40C6-8653-2CB8685B1AB1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864099125" sldId="297"/>
        </pc:sldMkLst>
      </pc:sldChg>
      <pc:sldChg chg="modSp add modAnim">
        <pc:chgData name="Thomas Stensitzki" userId="75cafe6b-2f2a-469b-85c4-eec3b9c972ba" providerId="ADAL" clId="{280FCD49-CF1B-46E6-A5B0-F667093A942C}" dt="2021-11-04T09:23:48.661" v="3631"/>
        <pc:sldMkLst>
          <pc:docMk/>
          <pc:sldMk cId="3408516510" sldId="297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408516510" sldId="297"/>
            <ac:spMk id="2" creationId="{189590F3-4E42-4E3D-A195-DA206CA2A3A2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408516510" sldId="297"/>
            <ac:spMk id="3" creationId="{4AAB9D3C-DC48-4B19-B25D-3FCAA5D18CAC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408516510" sldId="297"/>
            <ac:spMk id="4" creationId="{5967C4F6-5691-4C11-AF28-AC8861B93550}"/>
          </ac:spMkLst>
        </pc:spChg>
      </pc:sldChg>
      <pc:sldChg chg="modSp add mod">
        <pc:chgData name="Thomas Stensitzki" userId="75cafe6b-2f2a-469b-85c4-eec3b9c972ba" providerId="ADAL" clId="{280FCD49-CF1B-46E6-A5B0-F667093A942C}" dt="2021-11-04T09:23:48.661" v="3631"/>
        <pc:sldMkLst>
          <pc:docMk/>
          <pc:sldMk cId="512821701" sldId="298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512821701" sldId="298"/>
            <ac:spMk id="8" creationId="{7753695D-B6FA-4781-8B90-054226157255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512821701" sldId="298"/>
            <ac:spMk id="9" creationId="{7ACD5D95-6785-48AB-A08F-F511798021FE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384151020" sldId="298"/>
        </pc:sldMkLst>
      </pc:sldChg>
      <pc:sldChg chg="addSp delSp modSp new mod modClrScheme chgLayout">
        <pc:chgData name="Thomas Stensitzki" userId="75cafe6b-2f2a-469b-85c4-eec3b9c972ba" providerId="ADAL" clId="{280FCD49-CF1B-46E6-A5B0-F667093A942C}" dt="2021-11-04T09:23:48.661" v="3631"/>
        <pc:sldMkLst>
          <pc:docMk/>
          <pc:sldMk cId="843565452" sldId="299"/>
        </pc:sldMkLst>
        <pc:spChg chg="del mod ord">
          <ac:chgData name="Thomas Stensitzki" userId="75cafe6b-2f2a-469b-85c4-eec3b9c972ba" providerId="ADAL" clId="{280FCD49-CF1B-46E6-A5B0-F667093A942C}" dt="2021-11-02T10:32:47.380" v="1432" actId="700"/>
          <ac:spMkLst>
            <pc:docMk/>
            <pc:sldMk cId="843565452" sldId="299"/>
            <ac:spMk id="2" creationId="{DDA28F3B-914C-43DD-A972-39FAB403C4A8}"/>
          </ac:spMkLst>
        </pc:spChg>
        <pc:spChg chg="del">
          <ac:chgData name="Thomas Stensitzki" userId="75cafe6b-2f2a-469b-85c4-eec3b9c972ba" providerId="ADAL" clId="{280FCD49-CF1B-46E6-A5B0-F667093A942C}" dt="2021-11-02T10:32:47.380" v="1432" actId="700"/>
          <ac:spMkLst>
            <pc:docMk/>
            <pc:sldMk cId="843565452" sldId="299"/>
            <ac:spMk id="3" creationId="{BAF21B54-49C9-413E-BA0A-80CC3D421912}"/>
          </ac:spMkLst>
        </pc:spChg>
        <pc:spChg chg="del mod ord">
          <ac:chgData name="Thomas Stensitzki" userId="75cafe6b-2f2a-469b-85c4-eec3b9c972ba" providerId="ADAL" clId="{280FCD49-CF1B-46E6-A5B0-F667093A942C}" dt="2021-11-02T10:32:47.380" v="1432" actId="700"/>
          <ac:spMkLst>
            <pc:docMk/>
            <pc:sldMk cId="843565452" sldId="299"/>
            <ac:spMk id="4" creationId="{E24C22B8-9499-4385-B7AE-E95CB2D56DF0}"/>
          </ac:spMkLst>
        </pc:spChg>
        <pc:spChg chg="add mod ord">
          <ac:chgData name="Thomas Stensitzki" userId="75cafe6b-2f2a-469b-85c4-eec3b9c972ba" providerId="ADAL" clId="{280FCD49-CF1B-46E6-A5B0-F667093A942C}" dt="2021-11-04T09:23:48.661" v="3631"/>
          <ac:spMkLst>
            <pc:docMk/>
            <pc:sldMk cId="843565452" sldId="299"/>
            <ac:spMk id="5" creationId="{B0423A8A-0A30-475A-84BE-A609005B8DD4}"/>
          </ac:spMkLst>
        </pc:spChg>
        <pc:spChg chg="add mod ord">
          <ac:chgData name="Thomas Stensitzki" userId="75cafe6b-2f2a-469b-85c4-eec3b9c972ba" providerId="ADAL" clId="{280FCD49-CF1B-46E6-A5B0-F667093A942C}" dt="2021-11-04T09:23:48.661" v="3631"/>
          <ac:spMkLst>
            <pc:docMk/>
            <pc:sldMk cId="843565452" sldId="299"/>
            <ac:spMk id="6" creationId="{E677E7CA-5AAF-4383-8EE5-7F52FA2ECA6E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3766929687" sldId="299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049685247" sldId="300"/>
        </pc:sldMkLst>
      </pc:sldChg>
      <pc:sldChg chg="modSp new mod">
        <pc:chgData name="Thomas Stensitzki" userId="75cafe6b-2f2a-469b-85c4-eec3b9c972ba" providerId="ADAL" clId="{280FCD49-CF1B-46E6-A5B0-F667093A942C}" dt="2021-11-04T09:23:48.661" v="3631"/>
        <pc:sldMkLst>
          <pc:docMk/>
          <pc:sldMk cId="4094364641" sldId="300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4094364641" sldId="300"/>
            <ac:spMk id="2" creationId="{645A11BA-AE33-440E-B9A0-7ABEAF11BB2C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4094364641" sldId="300"/>
            <ac:spMk id="3" creationId="{41985D7C-5CAA-4B2F-861C-92C9D7B6D54A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4094364641" sldId="300"/>
            <ac:spMk id="4" creationId="{17FEC94D-365F-4F17-A4BB-298E4FF8228C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480016162" sldId="301"/>
        </pc:sldMkLst>
      </pc:sldChg>
      <pc:sldChg chg="modSp add mod">
        <pc:chgData name="Thomas Stensitzki" userId="75cafe6b-2f2a-469b-85c4-eec3b9c972ba" providerId="ADAL" clId="{280FCD49-CF1B-46E6-A5B0-F667093A942C}" dt="2021-11-04T09:23:48.661" v="3631"/>
        <pc:sldMkLst>
          <pc:docMk/>
          <pc:sldMk cId="2519074119" sldId="301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519074119" sldId="301"/>
            <ac:spMk id="2" creationId="{645A11BA-AE33-440E-B9A0-7ABEAF11BB2C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519074119" sldId="301"/>
            <ac:spMk id="3" creationId="{41985D7C-5CAA-4B2F-861C-92C9D7B6D54A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519074119" sldId="301"/>
            <ac:spMk id="4" creationId="{17FEC94D-365F-4F17-A4BB-298E4FF8228C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445697827" sldId="302"/>
        </pc:sldMkLst>
      </pc:sldChg>
      <pc:sldChg chg="modSp new mod">
        <pc:chgData name="Thomas Stensitzki" userId="75cafe6b-2f2a-469b-85c4-eec3b9c972ba" providerId="ADAL" clId="{280FCD49-CF1B-46E6-A5B0-F667093A942C}" dt="2021-11-04T09:23:48.661" v="3631"/>
        <pc:sldMkLst>
          <pc:docMk/>
          <pc:sldMk cId="2187120561" sldId="302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187120561" sldId="302"/>
            <ac:spMk id="2" creationId="{A8679793-245A-4403-8454-5C9AADA70BC8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187120561" sldId="302"/>
            <ac:spMk id="3" creationId="{A31AD8FB-E4DD-4237-A96E-0E8025217A9F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187120561" sldId="302"/>
            <ac:spMk id="4" creationId="{FE2200BF-7DE5-4264-A08A-BE157D95AEA8}"/>
          </ac:spMkLst>
        </pc:spChg>
      </pc:sldChg>
      <pc:sldChg chg="modSp new mod">
        <pc:chgData name="Thomas Stensitzki" userId="75cafe6b-2f2a-469b-85c4-eec3b9c972ba" providerId="ADAL" clId="{280FCD49-CF1B-46E6-A5B0-F667093A942C}" dt="2021-11-04T09:23:48.661" v="3631"/>
        <pc:sldMkLst>
          <pc:docMk/>
          <pc:sldMk cId="1360740510" sldId="303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360740510" sldId="303"/>
            <ac:spMk id="2" creationId="{4C99176B-6BFA-4A7B-9940-4C6BC6C039BD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360740510" sldId="303"/>
            <ac:spMk id="3" creationId="{3F5AD64D-824D-4F6A-BDD6-F2A7046D20A2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360740510" sldId="303"/>
            <ac:spMk id="4" creationId="{F2165AC0-AB1D-42A4-839A-D10BA5743318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447804453" sldId="303"/>
        </pc:sldMkLst>
      </pc:sldChg>
      <pc:sldChg chg="modSp add del mod">
        <pc:chgData name="Thomas Stensitzki" userId="75cafe6b-2f2a-469b-85c4-eec3b9c972ba" providerId="ADAL" clId="{280FCD49-CF1B-46E6-A5B0-F667093A942C}" dt="2021-11-04T09:23:48.661" v="3631"/>
        <pc:sldMkLst>
          <pc:docMk/>
          <pc:sldMk cId="1803008957" sldId="304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803008957" sldId="304"/>
            <ac:spMk id="2" creationId="{4C99176B-6BFA-4A7B-9940-4C6BC6C039BD}"/>
          </ac:spMkLst>
        </pc:spChg>
        <pc:spChg chg="mod">
          <ac:chgData name="Thomas Stensitzki" userId="75cafe6b-2f2a-469b-85c4-eec3b9c972ba" providerId="ADAL" clId="{280FCD49-CF1B-46E6-A5B0-F667093A942C}" dt="2021-11-02T12:33:37.726" v="2488" actId="20577"/>
          <ac:spMkLst>
            <pc:docMk/>
            <pc:sldMk cId="1803008957" sldId="304"/>
            <ac:spMk id="3" creationId="{3F5AD64D-824D-4F6A-BDD6-F2A7046D20A2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803008957" sldId="304"/>
            <ac:spMk id="4" creationId="{F2165AC0-AB1D-42A4-839A-D10BA5743318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082075540" sldId="304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994848826" sldId="305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3392101237" sldId="306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3239972118" sldId="307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357793335" sldId="308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910973575" sldId="309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494226421" sldId="310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026421219" sldId="311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978042729" sldId="312"/>
        </pc:sldMkLst>
      </pc:sldChg>
    </pc:docChg>
  </pc:docChgLst>
  <pc:docChgLst>
    <pc:chgData name="Thomas Stensitzki" userId="75cafe6b-2f2a-469b-85c4-eec3b9c972ba" providerId="ADAL" clId="{6293ADD2-6AEA-44EF-8DBC-DC1A2D61D683}"/>
    <pc:docChg chg="custSel addSld modSld modSection">
      <pc:chgData name="Thomas Stensitzki" userId="75cafe6b-2f2a-469b-85c4-eec3b9c972ba" providerId="ADAL" clId="{6293ADD2-6AEA-44EF-8DBC-DC1A2D61D683}" dt="2021-02-11T16:38:04.823" v="42" actId="6549"/>
      <pc:docMkLst>
        <pc:docMk/>
      </pc:docMkLst>
      <pc:sldChg chg="modSp new mod">
        <pc:chgData name="Thomas Stensitzki" userId="75cafe6b-2f2a-469b-85c4-eec3b9c972ba" providerId="ADAL" clId="{6293ADD2-6AEA-44EF-8DBC-DC1A2D61D683}" dt="2021-02-11T16:38:04.823" v="42" actId="6549"/>
        <pc:sldMkLst>
          <pc:docMk/>
          <pc:sldMk cId="848503523" sldId="286"/>
        </pc:sldMkLst>
        <pc:spChg chg="mod">
          <ac:chgData name="Thomas Stensitzki" userId="75cafe6b-2f2a-469b-85c4-eec3b9c972ba" providerId="ADAL" clId="{6293ADD2-6AEA-44EF-8DBC-DC1A2D61D683}" dt="2021-02-11T16:37:39.632" v="33" actId="20577"/>
          <ac:spMkLst>
            <pc:docMk/>
            <pc:sldMk cId="848503523" sldId="286"/>
            <ac:spMk id="2" creationId="{65E62FD1-8696-4A34-B061-3373BFCBD06C}"/>
          </ac:spMkLst>
        </pc:spChg>
        <pc:spChg chg="mod">
          <ac:chgData name="Thomas Stensitzki" userId="75cafe6b-2f2a-469b-85c4-eec3b9c972ba" providerId="ADAL" clId="{6293ADD2-6AEA-44EF-8DBC-DC1A2D61D683}" dt="2021-02-11T16:38:04.823" v="42" actId="6549"/>
          <ac:spMkLst>
            <pc:docMk/>
            <pc:sldMk cId="848503523" sldId="286"/>
            <ac:spMk id="3" creationId="{5A9BE1F8-07C8-4A22-93C8-5725DE760CD3}"/>
          </ac:spMkLst>
        </pc:spChg>
      </pc:sldChg>
    </pc:docChg>
  </pc:docChgLst>
  <pc:docChgLst>
    <pc:chgData name="Thomas Stensitzki" userId="75cafe6b-2f2a-469b-85c4-eec3b9c972ba" providerId="ADAL" clId="{AAD96DC6-27DA-4212-8382-67920AB94B8D}"/>
    <pc:docChg chg="undo custSel addSld delSld modSld sldOrd modSection">
      <pc:chgData name="Thomas Stensitzki" userId="75cafe6b-2f2a-469b-85c4-eec3b9c972ba" providerId="ADAL" clId="{AAD96DC6-27DA-4212-8382-67920AB94B8D}" dt="2021-08-19T17:12:53.191" v="1124" actId="6549"/>
      <pc:docMkLst>
        <pc:docMk/>
      </pc:docMkLst>
      <pc:sldChg chg="add ord">
        <pc:chgData name="Thomas Stensitzki" userId="75cafe6b-2f2a-469b-85c4-eec3b9c972ba" providerId="ADAL" clId="{AAD96DC6-27DA-4212-8382-67920AB94B8D}" dt="2021-08-19T15:12:01.716" v="1072"/>
        <pc:sldMkLst>
          <pc:docMk/>
          <pc:sldMk cId="3986585176" sldId="258"/>
        </pc:sldMkLst>
      </pc:sldChg>
      <pc:sldChg chg="modSp">
        <pc:chgData name="Thomas Stensitzki" userId="75cafe6b-2f2a-469b-85c4-eec3b9c972ba" providerId="ADAL" clId="{AAD96DC6-27DA-4212-8382-67920AB94B8D}" dt="2021-08-19T17:12:53.191" v="1124" actId="6549"/>
        <pc:sldMkLst>
          <pc:docMk/>
          <pc:sldMk cId="2726485231" sldId="284"/>
        </pc:sldMkLst>
        <pc:spChg chg="mod">
          <ac:chgData name="Thomas Stensitzki" userId="75cafe6b-2f2a-469b-85c4-eec3b9c972ba" providerId="ADAL" clId="{AAD96DC6-27DA-4212-8382-67920AB94B8D}" dt="2021-08-19T17:12:53.191" v="1124" actId="6549"/>
          <ac:spMkLst>
            <pc:docMk/>
            <pc:sldMk cId="2726485231" sldId="284"/>
            <ac:spMk id="3" creationId="{852D7D7E-BA81-48A9-8091-7743702661A8}"/>
          </ac:spMkLst>
        </pc:spChg>
      </pc:sldChg>
      <pc:sldChg chg="addSp modSp mod">
        <pc:chgData name="Thomas Stensitzki" userId="75cafe6b-2f2a-469b-85c4-eec3b9c972ba" providerId="ADAL" clId="{AAD96DC6-27DA-4212-8382-67920AB94B8D}" dt="2021-08-19T15:26:59.721" v="1107" actId="207"/>
        <pc:sldMkLst>
          <pc:docMk/>
          <pc:sldMk cId="848503523" sldId="286"/>
        </pc:sldMkLst>
        <pc:spChg chg="mod">
          <ac:chgData name="Thomas Stensitzki" userId="75cafe6b-2f2a-469b-85c4-eec3b9c972ba" providerId="ADAL" clId="{AAD96DC6-27DA-4212-8382-67920AB94B8D}" dt="2021-08-19T15:10:27.643" v="1068"/>
          <ac:spMkLst>
            <pc:docMk/>
            <pc:sldMk cId="848503523" sldId="286"/>
            <ac:spMk id="3" creationId="{5A9BE1F8-07C8-4A22-93C8-5725DE760CD3}"/>
          </ac:spMkLst>
        </pc:spChg>
        <pc:spChg chg="add mod">
          <ac:chgData name="Thomas Stensitzki" userId="75cafe6b-2f2a-469b-85c4-eec3b9c972ba" providerId="ADAL" clId="{AAD96DC6-27DA-4212-8382-67920AB94B8D}" dt="2021-08-19T15:26:41.442" v="1106" actId="6549"/>
          <ac:spMkLst>
            <pc:docMk/>
            <pc:sldMk cId="848503523" sldId="286"/>
            <ac:spMk id="5" creationId="{3060FA8B-3FE8-41AF-887D-70CB325A73FF}"/>
          </ac:spMkLst>
        </pc:spChg>
        <pc:spChg chg="mod">
          <ac:chgData name="Thomas Stensitzki" userId="75cafe6b-2f2a-469b-85c4-eec3b9c972ba" providerId="ADAL" clId="{AAD96DC6-27DA-4212-8382-67920AB94B8D}" dt="2021-08-19T15:26:59.721" v="1107" actId="207"/>
          <ac:spMkLst>
            <pc:docMk/>
            <pc:sldMk cId="848503523" sldId="286"/>
            <ac:spMk id="7" creationId="{EA8C525A-4365-4D83-86B5-F73673846B06}"/>
          </ac:spMkLst>
        </pc:spChg>
        <pc:spChg chg="mod">
          <ac:chgData name="Thomas Stensitzki" userId="75cafe6b-2f2a-469b-85c4-eec3b9c972ba" providerId="ADAL" clId="{AAD96DC6-27DA-4212-8382-67920AB94B8D}" dt="2021-08-19T15:26:59.721" v="1107" actId="207"/>
          <ac:spMkLst>
            <pc:docMk/>
            <pc:sldMk cId="848503523" sldId="286"/>
            <ac:spMk id="8" creationId="{BD7DEAB1-8369-4B70-A9AB-BCCA3B861094}"/>
          </ac:spMkLst>
        </pc:spChg>
        <pc:grpChg chg="add mod">
          <ac:chgData name="Thomas Stensitzki" userId="75cafe6b-2f2a-469b-85c4-eec3b9c972ba" providerId="ADAL" clId="{AAD96DC6-27DA-4212-8382-67920AB94B8D}" dt="2021-08-19T15:26:59.721" v="1107" actId="207"/>
          <ac:grpSpMkLst>
            <pc:docMk/>
            <pc:sldMk cId="848503523" sldId="286"/>
            <ac:grpSpMk id="6" creationId="{D887B6D5-E084-4C12-9799-A7C0F958FEEC}"/>
          </ac:grpSpMkLst>
        </pc:grpChg>
      </pc:sldChg>
      <pc:sldChg chg="modSp modAnim">
        <pc:chgData name="Thomas Stensitzki" userId="75cafe6b-2f2a-469b-85c4-eec3b9c972ba" providerId="ADAL" clId="{AAD96DC6-27DA-4212-8382-67920AB94B8D}" dt="2021-08-19T17:12:22.698" v="1111" actId="6549"/>
        <pc:sldMkLst>
          <pc:docMk/>
          <pc:sldMk cId="1729807556" sldId="289"/>
        </pc:sldMkLst>
        <pc:spChg chg="mod">
          <ac:chgData name="Thomas Stensitzki" userId="75cafe6b-2f2a-469b-85c4-eec3b9c972ba" providerId="ADAL" clId="{AAD96DC6-27DA-4212-8382-67920AB94B8D}" dt="2021-08-19T17:12:22.698" v="1111" actId="6549"/>
          <ac:spMkLst>
            <pc:docMk/>
            <pc:sldMk cId="1729807556" sldId="289"/>
            <ac:spMk id="3" creationId="{4AAB9D3C-DC48-4B19-B25D-3FCAA5D18CAC}"/>
          </ac:spMkLst>
        </pc:spChg>
      </pc:sldChg>
      <pc:sldChg chg="modAnim">
        <pc:chgData name="Thomas Stensitzki" userId="75cafe6b-2f2a-469b-85c4-eec3b9c972ba" providerId="ADAL" clId="{AAD96DC6-27DA-4212-8382-67920AB94B8D}" dt="2021-08-17T06:47:18.821" v="506"/>
        <pc:sldMkLst>
          <pc:docMk/>
          <pc:sldMk cId="1538979864" sldId="290"/>
        </pc:sldMkLst>
      </pc:sldChg>
      <pc:sldChg chg="modAnim">
        <pc:chgData name="Thomas Stensitzki" userId="75cafe6b-2f2a-469b-85c4-eec3b9c972ba" providerId="ADAL" clId="{AAD96DC6-27DA-4212-8382-67920AB94B8D}" dt="2021-08-17T06:47:39.638" v="508"/>
        <pc:sldMkLst>
          <pc:docMk/>
          <pc:sldMk cId="625306503" sldId="291"/>
        </pc:sldMkLst>
      </pc:sldChg>
      <pc:sldChg chg="modAnim">
        <pc:chgData name="Thomas Stensitzki" userId="75cafe6b-2f2a-469b-85c4-eec3b9c972ba" providerId="ADAL" clId="{AAD96DC6-27DA-4212-8382-67920AB94B8D}" dt="2021-08-17T07:55:04.779" v="527"/>
        <pc:sldMkLst>
          <pc:docMk/>
          <pc:sldMk cId="761415241" sldId="292"/>
        </pc:sldMkLst>
      </pc:sldChg>
      <pc:sldChg chg="modAnim">
        <pc:chgData name="Thomas Stensitzki" userId="75cafe6b-2f2a-469b-85c4-eec3b9c972ba" providerId="ADAL" clId="{AAD96DC6-27DA-4212-8382-67920AB94B8D}" dt="2021-08-17T06:56:16.717" v="518"/>
        <pc:sldMkLst>
          <pc:docMk/>
          <pc:sldMk cId="296453417" sldId="293"/>
        </pc:sldMkLst>
      </pc:sldChg>
      <pc:sldChg chg="modSp mod">
        <pc:chgData name="Thomas Stensitzki" userId="75cafe6b-2f2a-469b-85c4-eec3b9c972ba" providerId="ADAL" clId="{AAD96DC6-27DA-4212-8382-67920AB94B8D}" dt="2021-08-17T08:17:21.348" v="986"/>
        <pc:sldMkLst>
          <pc:docMk/>
          <pc:sldMk cId="1527107871" sldId="294"/>
        </pc:sldMkLst>
        <pc:spChg chg="mod">
          <ac:chgData name="Thomas Stensitzki" userId="75cafe6b-2f2a-469b-85c4-eec3b9c972ba" providerId="ADAL" clId="{AAD96DC6-27DA-4212-8382-67920AB94B8D}" dt="2021-08-17T08:17:21.348" v="986"/>
          <ac:spMkLst>
            <pc:docMk/>
            <pc:sldMk cId="1527107871" sldId="294"/>
            <ac:spMk id="3" creationId="{E6457753-D74F-4F38-BD66-C620F82E540F}"/>
          </ac:spMkLst>
        </pc:spChg>
      </pc:sldChg>
      <pc:sldChg chg="modAnim">
        <pc:chgData name="Thomas Stensitzki" userId="75cafe6b-2f2a-469b-85c4-eec3b9c972ba" providerId="ADAL" clId="{AAD96DC6-27DA-4212-8382-67920AB94B8D}" dt="2021-08-17T07:57:08.164" v="531"/>
        <pc:sldMkLst>
          <pc:docMk/>
          <pc:sldMk cId="1494450289" sldId="295"/>
        </pc:sldMkLst>
      </pc:sldChg>
      <pc:sldChg chg="delSp modSp mod modAnim">
        <pc:chgData name="Thomas Stensitzki" userId="75cafe6b-2f2a-469b-85c4-eec3b9c972ba" providerId="ADAL" clId="{AAD96DC6-27DA-4212-8382-67920AB94B8D}" dt="2021-08-17T07:58:23.618" v="540" actId="478"/>
        <pc:sldMkLst>
          <pc:docMk/>
          <pc:sldMk cId="2758494623" sldId="296"/>
        </pc:sldMkLst>
        <pc:spChg chg="mod">
          <ac:chgData name="Thomas Stensitzki" userId="75cafe6b-2f2a-469b-85c4-eec3b9c972ba" providerId="ADAL" clId="{AAD96DC6-27DA-4212-8382-67920AB94B8D}" dt="2021-08-17T07:57:32.861" v="533" actId="1076"/>
          <ac:spMkLst>
            <pc:docMk/>
            <pc:sldMk cId="2758494623" sldId="296"/>
            <ac:spMk id="10" creationId="{3DDFDD46-1C45-48F7-9664-16F78EEB66D0}"/>
          </ac:spMkLst>
        </pc:spChg>
        <pc:picChg chg="del">
          <ac:chgData name="Thomas Stensitzki" userId="75cafe6b-2f2a-469b-85c4-eec3b9c972ba" providerId="ADAL" clId="{AAD96DC6-27DA-4212-8382-67920AB94B8D}" dt="2021-08-17T07:58:23.618" v="540" actId="478"/>
          <ac:picMkLst>
            <pc:docMk/>
            <pc:sldMk cId="2758494623" sldId="296"/>
            <ac:picMk id="20" creationId="{598168DF-E2C1-4425-92E6-722D97A426E7}"/>
          </ac:picMkLst>
        </pc:picChg>
        <pc:cxnChg chg="del mod">
          <ac:chgData name="Thomas Stensitzki" userId="75cafe6b-2f2a-469b-85c4-eec3b9c972ba" providerId="ADAL" clId="{AAD96DC6-27DA-4212-8382-67920AB94B8D}" dt="2021-08-17T07:58:22.831" v="539" actId="478"/>
          <ac:cxnSpMkLst>
            <pc:docMk/>
            <pc:sldMk cId="2758494623" sldId="296"/>
            <ac:cxnSpMk id="14" creationId="{EB2EEE35-F94F-4773-8963-9E72ED0A87EB}"/>
          </ac:cxnSpMkLst>
        </pc:cxnChg>
      </pc:sldChg>
      <pc:sldChg chg="addSp delSp modSp mod modAnim">
        <pc:chgData name="Thomas Stensitzki" userId="75cafe6b-2f2a-469b-85c4-eec3b9c972ba" providerId="ADAL" clId="{AAD96DC6-27DA-4212-8382-67920AB94B8D}" dt="2021-08-17T08:00:16.454" v="553"/>
        <pc:sldMkLst>
          <pc:docMk/>
          <pc:sldMk cId="1864099125" sldId="297"/>
        </pc:sldMkLst>
        <pc:grpChg chg="add mod">
          <ac:chgData name="Thomas Stensitzki" userId="75cafe6b-2f2a-469b-85c4-eec3b9c972ba" providerId="ADAL" clId="{AAD96DC6-27DA-4212-8382-67920AB94B8D}" dt="2021-08-17T07:58:49.245" v="543" actId="164"/>
          <ac:grpSpMkLst>
            <pc:docMk/>
            <pc:sldMk cId="1864099125" sldId="297"/>
            <ac:grpSpMk id="3" creationId="{841D6E04-76D2-480E-B650-F343EDE9A848}"/>
          </ac:grpSpMkLst>
        </pc:grpChg>
        <pc:picChg chg="del">
          <ac:chgData name="Thomas Stensitzki" userId="75cafe6b-2f2a-469b-85c4-eec3b9c972ba" providerId="ADAL" clId="{AAD96DC6-27DA-4212-8382-67920AB94B8D}" dt="2021-08-17T07:58:32.053" v="542" actId="478"/>
          <ac:picMkLst>
            <pc:docMk/>
            <pc:sldMk cId="1864099125" sldId="297"/>
            <ac:picMk id="20" creationId="{598168DF-E2C1-4425-92E6-722D97A426E7}"/>
          </ac:picMkLst>
        </pc:picChg>
        <pc:picChg chg="mod">
          <ac:chgData name="Thomas Stensitzki" userId="75cafe6b-2f2a-469b-85c4-eec3b9c972ba" providerId="ADAL" clId="{AAD96DC6-27DA-4212-8382-67920AB94B8D}" dt="2021-08-17T07:58:49.245" v="543" actId="164"/>
          <ac:picMkLst>
            <pc:docMk/>
            <pc:sldMk cId="1864099125" sldId="297"/>
            <ac:picMk id="31" creationId="{FF2A6880-FB00-4D85-8FB7-DC904A2DA90F}"/>
          </ac:picMkLst>
        </pc:picChg>
        <pc:picChg chg="mod">
          <ac:chgData name="Thomas Stensitzki" userId="75cafe6b-2f2a-469b-85c4-eec3b9c972ba" providerId="ADAL" clId="{AAD96DC6-27DA-4212-8382-67920AB94B8D}" dt="2021-08-17T07:58:49.245" v="543" actId="164"/>
          <ac:picMkLst>
            <pc:docMk/>
            <pc:sldMk cId="1864099125" sldId="297"/>
            <ac:picMk id="34" creationId="{962D38E7-0EBD-46EE-A35B-CFF77C75D272}"/>
          </ac:picMkLst>
        </pc:picChg>
        <pc:cxnChg chg="mod">
          <ac:chgData name="Thomas Stensitzki" userId="75cafe6b-2f2a-469b-85c4-eec3b9c972ba" providerId="ADAL" clId="{AAD96DC6-27DA-4212-8382-67920AB94B8D}" dt="2021-08-17T07:59:15.950" v="549" actId="14100"/>
          <ac:cxnSpMkLst>
            <pc:docMk/>
            <pc:sldMk cId="1864099125" sldId="297"/>
            <ac:cxnSpMk id="8" creationId="{61AB7456-4D3F-483D-B5DB-904E82EB8ACE}"/>
          </ac:cxnSpMkLst>
        </pc:cxnChg>
        <pc:cxnChg chg="del mod">
          <ac:chgData name="Thomas Stensitzki" userId="75cafe6b-2f2a-469b-85c4-eec3b9c972ba" providerId="ADAL" clId="{AAD96DC6-27DA-4212-8382-67920AB94B8D}" dt="2021-08-17T07:58:31.557" v="541" actId="478"/>
          <ac:cxnSpMkLst>
            <pc:docMk/>
            <pc:sldMk cId="1864099125" sldId="297"/>
            <ac:cxnSpMk id="14" creationId="{EB2EEE35-F94F-4773-8963-9E72ED0A87EB}"/>
          </ac:cxnSpMkLst>
        </pc:cxnChg>
        <pc:cxnChg chg="mod">
          <ac:chgData name="Thomas Stensitzki" userId="75cafe6b-2f2a-469b-85c4-eec3b9c972ba" providerId="ADAL" clId="{AAD96DC6-27DA-4212-8382-67920AB94B8D}" dt="2021-08-17T07:59:09.533" v="547" actId="14100"/>
          <ac:cxnSpMkLst>
            <pc:docMk/>
            <pc:sldMk cId="1864099125" sldId="297"/>
            <ac:cxnSpMk id="23" creationId="{83BCCCB0-069D-4308-9B27-D449ADCFC489}"/>
          </ac:cxnSpMkLst>
        </pc:cxnChg>
      </pc:sldChg>
      <pc:sldChg chg="addSp delSp modSp mod modAnim">
        <pc:chgData name="Thomas Stensitzki" userId="75cafe6b-2f2a-469b-85c4-eec3b9c972ba" providerId="ADAL" clId="{AAD96DC6-27DA-4212-8382-67920AB94B8D}" dt="2021-08-17T08:00:57.848" v="562"/>
        <pc:sldMkLst>
          <pc:docMk/>
          <pc:sldMk cId="1384151020" sldId="298"/>
        </pc:sldMkLst>
        <pc:grpChg chg="add mod">
          <ac:chgData name="Thomas Stensitzki" userId="75cafe6b-2f2a-469b-85c4-eec3b9c972ba" providerId="ADAL" clId="{AAD96DC6-27DA-4212-8382-67920AB94B8D}" dt="2021-08-17T08:00:35.701" v="556" actId="164"/>
          <ac:grpSpMkLst>
            <pc:docMk/>
            <pc:sldMk cId="1384151020" sldId="298"/>
            <ac:grpSpMk id="3" creationId="{D996FE7A-625D-4659-8365-732A28604BFF}"/>
          </ac:grpSpMkLst>
        </pc:grpChg>
        <pc:picChg chg="mod">
          <ac:chgData name="Thomas Stensitzki" userId="75cafe6b-2f2a-469b-85c4-eec3b9c972ba" providerId="ADAL" clId="{AAD96DC6-27DA-4212-8382-67920AB94B8D}" dt="2021-08-17T08:00:35.701" v="556" actId="164"/>
          <ac:picMkLst>
            <pc:docMk/>
            <pc:sldMk cId="1384151020" sldId="298"/>
            <ac:picMk id="5" creationId="{EDA8633F-832A-46E7-BEB8-D5D688D7B6D3}"/>
          </ac:picMkLst>
        </pc:picChg>
        <pc:picChg chg="del">
          <ac:chgData name="Thomas Stensitzki" userId="75cafe6b-2f2a-469b-85c4-eec3b9c972ba" providerId="ADAL" clId="{AAD96DC6-27DA-4212-8382-67920AB94B8D}" dt="2021-08-17T08:00:30.390" v="555" actId="478"/>
          <ac:picMkLst>
            <pc:docMk/>
            <pc:sldMk cId="1384151020" sldId="298"/>
            <ac:picMk id="20" creationId="{598168DF-E2C1-4425-92E6-722D97A426E7}"/>
          </ac:picMkLst>
        </pc:picChg>
        <pc:picChg chg="mod">
          <ac:chgData name="Thomas Stensitzki" userId="75cafe6b-2f2a-469b-85c4-eec3b9c972ba" providerId="ADAL" clId="{AAD96DC6-27DA-4212-8382-67920AB94B8D}" dt="2021-08-17T08:00:35.701" v="556" actId="164"/>
          <ac:picMkLst>
            <pc:docMk/>
            <pc:sldMk cId="1384151020" sldId="298"/>
            <ac:picMk id="22" creationId="{5E4A36F9-F4FF-4E08-82B6-0F60B2B5AADF}"/>
          </ac:picMkLst>
        </pc:picChg>
        <pc:cxnChg chg="del mod">
          <ac:chgData name="Thomas Stensitzki" userId="75cafe6b-2f2a-469b-85c4-eec3b9c972ba" providerId="ADAL" clId="{AAD96DC6-27DA-4212-8382-67920AB94B8D}" dt="2021-08-17T08:00:29.900" v="554" actId="478"/>
          <ac:cxnSpMkLst>
            <pc:docMk/>
            <pc:sldMk cId="1384151020" sldId="298"/>
            <ac:cxnSpMk id="14" creationId="{EB2EEE35-F94F-4773-8963-9E72ED0A87EB}"/>
          </ac:cxnSpMkLst>
        </pc:cxnChg>
      </pc:sldChg>
      <pc:sldChg chg="addSp delSp modSp mod modAnim">
        <pc:chgData name="Thomas Stensitzki" userId="75cafe6b-2f2a-469b-85c4-eec3b9c972ba" providerId="ADAL" clId="{AAD96DC6-27DA-4212-8382-67920AB94B8D}" dt="2021-08-17T08:02:12.744" v="570"/>
        <pc:sldMkLst>
          <pc:docMk/>
          <pc:sldMk cId="3766929687" sldId="299"/>
        </pc:sldMkLst>
        <pc:grpChg chg="add mod">
          <ac:chgData name="Thomas Stensitzki" userId="75cafe6b-2f2a-469b-85c4-eec3b9c972ba" providerId="ADAL" clId="{AAD96DC6-27DA-4212-8382-67920AB94B8D}" dt="2021-08-17T08:01:42.964" v="565" actId="164"/>
          <ac:grpSpMkLst>
            <pc:docMk/>
            <pc:sldMk cId="3766929687" sldId="299"/>
            <ac:grpSpMk id="3" creationId="{4E7C241C-E46D-4A07-AB7D-3466765DAA3C}"/>
          </ac:grpSpMkLst>
        </pc:grpChg>
        <pc:picChg chg="mod">
          <ac:chgData name="Thomas Stensitzki" userId="75cafe6b-2f2a-469b-85c4-eec3b9c972ba" providerId="ADAL" clId="{AAD96DC6-27DA-4212-8382-67920AB94B8D}" dt="2021-08-17T08:01:42.964" v="565" actId="164"/>
          <ac:picMkLst>
            <pc:docMk/>
            <pc:sldMk cId="3766929687" sldId="299"/>
            <ac:picMk id="16" creationId="{A37EF680-B335-47D7-9623-36CC8157598C}"/>
          </ac:picMkLst>
        </pc:picChg>
        <pc:picChg chg="mod">
          <ac:chgData name="Thomas Stensitzki" userId="75cafe6b-2f2a-469b-85c4-eec3b9c972ba" providerId="ADAL" clId="{AAD96DC6-27DA-4212-8382-67920AB94B8D}" dt="2021-08-17T08:01:42.964" v="565" actId="164"/>
          <ac:picMkLst>
            <pc:docMk/>
            <pc:sldMk cId="3766929687" sldId="299"/>
            <ac:picMk id="18" creationId="{4BC356EA-EFE5-4F59-B6B7-27CE5951C29C}"/>
          </ac:picMkLst>
        </pc:picChg>
        <pc:picChg chg="del">
          <ac:chgData name="Thomas Stensitzki" userId="75cafe6b-2f2a-469b-85c4-eec3b9c972ba" providerId="ADAL" clId="{AAD96DC6-27DA-4212-8382-67920AB94B8D}" dt="2021-08-17T08:01:33.443" v="564" actId="478"/>
          <ac:picMkLst>
            <pc:docMk/>
            <pc:sldMk cId="3766929687" sldId="299"/>
            <ac:picMk id="20" creationId="{598168DF-E2C1-4425-92E6-722D97A426E7}"/>
          </ac:picMkLst>
        </pc:picChg>
        <pc:cxnChg chg="del mod">
          <ac:chgData name="Thomas Stensitzki" userId="75cafe6b-2f2a-469b-85c4-eec3b9c972ba" providerId="ADAL" clId="{AAD96DC6-27DA-4212-8382-67920AB94B8D}" dt="2021-08-17T08:01:32.972" v="563" actId="478"/>
          <ac:cxnSpMkLst>
            <pc:docMk/>
            <pc:sldMk cId="3766929687" sldId="299"/>
            <ac:cxnSpMk id="14" creationId="{EB2EEE35-F94F-4773-8963-9E72ED0A87EB}"/>
          </ac:cxnSpMkLst>
        </pc:cxnChg>
      </pc:sldChg>
      <pc:sldChg chg="ord modAnim">
        <pc:chgData name="Thomas Stensitzki" userId="75cafe6b-2f2a-469b-85c4-eec3b9c972ba" providerId="ADAL" clId="{AAD96DC6-27DA-4212-8382-67920AB94B8D}" dt="2021-08-17T08:06:53.272" v="641"/>
        <pc:sldMkLst>
          <pc:docMk/>
          <pc:sldMk cId="2049685247" sldId="300"/>
        </pc:sldMkLst>
      </pc:sldChg>
      <pc:sldChg chg="addSp delSp modSp new mod modClrScheme chgLayout">
        <pc:chgData name="Thomas Stensitzki" userId="75cafe6b-2f2a-469b-85c4-eec3b9c972ba" providerId="ADAL" clId="{AAD96DC6-27DA-4212-8382-67920AB94B8D}" dt="2021-08-14T15:21:47.665" v="54" actId="20577"/>
        <pc:sldMkLst>
          <pc:docMk/>
          <pc:sldMk cId="1480016162" sldId="301"/>
        </pc:sldMkLst>
        <pc:spChg chg="del mod ord">
          <ac:chgData name="Thomas Stensitzki" userId="75cafe6b-2f2a-469b-85c4-eec3b9c972ba" providerId="ADAL" clId="{AAD96DC6-27DA-4212-8382-67920AB94B8D}" dt="2021-08-14T15:21:22.717" v="1" actId="700"/>
          <ac:spMkLst>
            <pc:docMk/>
            <pc:sldMk cId="1480016162" sldId="301"/>
            <ac:spMk id="2" creationId="{3D5A5DD0-A9F7-4CF8-81FA-E33BE4E39B64}"/>
          </ac:spMkLst>
        </pc:spChg>
        <pc:spChg chg="del">
          <ac:chgData name="Thomas Stensitzki" userId="75cafe6b-2f2a-469b-85c4-eec3b9c972ba" providerId="ADAL" clId="{AAD96DC6-27DA-4212-8382-67920AB94B8D}" dt="2021-08-14T15:21:22.717" v="1" actId="700"/>
          <ac:spMkLst>
            <pc:docMk/>
            <pc:sldMk cId="1480016162" sldId="301"/>
            <ac:spMk id="3" creationId="{4DA52E22-61A9-431A-B7D5-7134A5D079F9}"/>
          </ac:spMkLst>
        </pc:spChg>
        <pc:spChg chg="del mod ord">
          <ac:chgData name="Thomas Stensitzki" userId="75cafe6b-2f2a-469b-85c4-eec3b9c972ba" providerId="ADAL" clId="{AAD96DC6-27DA-4212-8382-67920AB94B8D}" dt="2021-08-14T15:21:22.717" v="1" actId="700"/>
          <ac:spMkLst>
            <pc:docMk/>
            <pc:sldMk cId="1480016162" sldId="301"/>
            <ac:spMk id="4" creationId="{7D8A63B4-8FC3-4F51-B304-AC8C13A83D80}"/>
          </ac:spMkLst>
        </pc:spChg>
        <pc:spChg chg="add mod ord">
          <ac:chgData name="Thomas Stensitzki" userId="75cafe6b-2f2a-469b-85c4-eec3b9c972ba" providerId="ADAL" clId="{AAD96DC6-27DA-4212-8382-67920AB94B8D}" dt="2021-08-14T15:21:40.574" v="26" actId="20577"/>
          <ac:spMkLst>
            <pc:docMk/>
            <pc:sldMk cId="1480016162" sldId="301"/>
            <ac:spMk id="5" creationId="{40526724-AC26-4B64-8CBD-388146F21F10}"/>
          </ac:spMkLst>
        </pc:spChg>
        <pc:spChg chg="add mod ord">
          <ac:chgData name="Thomas Stensitzki" userId="75cafe6b-2f2a-469b-85c4-eec3b9c972ba" providerId="ADAL" clId="{AAD96DC6-27DA-4212-8382-67920AB94B8D}" dt="2021-08-14T15:21:47.665" v="54" actId="20577"/>
          <ac:spMkLst>
            <pc:docMk/>
            <pc:sldMk cId="1480016162" sldId="301"/>
            <ac:spMk id="6" creationId="{18D200D1-8891-428B-906E-405BAD75EB9A}"/>
          </ac:spMkLst>
        </pc:spChg>
      </pc:sldChg>
      <pc:sldChg chg="modSp add mod ord">
        <pc:chgData name="Thomas Stensitzki" userId="75cafe6b-2f2a-469b-85c4-eec3b9c972ba" providerId="ADAL" clId="{AAD96DC6-27DA-4212-8382-67920AB94B8D}" dt="2021-08-14T15:22:18.440" v="63" actId="20577"/>
        <pc:sldMkLst>
          <pc:docMk/>
          <pc:sldMk cId="445697827" sldId="302"/>
        </pc:sldMkLst>
        <pc:spChg chg="mod">
          <ac:chgData name="Thomas Stensitzki" userId="75cafe6b-2f2a-469b-85c4-eec3b9c972ba" providerId="ADAL" clId="{AAD96DC6-27DA-4212-8382-67920AB94B8D}" dt="2021-08-14T15:22:18.440" v="63" actId="20577"/>
          <ac:spMkLst>
            <pc:docMk/>
            <pc:sldMk cId="445697827" sldId="302"/>
            <ac:spMk id="5" creationId="{40526724-AC26-4B64-8CBD-388146F21F10}"/>
          </ac:spMkLst>
        </pc:spChg>
      </pc:sldChg>
      <pc:sldChg chg="addSp delSp modSp add mod modAnim">
        <pc:chgData name="Thomas Stensitzki" userId="75cafe6b-2f2a-469b-85c4-eec3b9c972ba" providerId="ADAL" clId="{AAD96DC6-27DA-4212-8382-67920AB94B8D}" dt="2021-08-17T08:07:51.540" v="644"/>
        <pc:sldMkLst>
          <pc:docMk/>
          <pc:sldMk cId="1447804453" sldId="303"/>
        </pc:sldMkLst>
        <pc:spChg chg="mod">
          <ac:chgData name="Thomas Stensitzki" userId="75cafe6b-2f2a-469b-85c4-eec3b9c972ba" providerId="ADAL" clId="{AAD96DC6-27DA-4212-8382-67920AB94B8D}" dt="2021-08-14T15:27:51.123" v="225" actId="20577"/>
          <ac:spMkLst>
            <pc:docMk/>
            <pc:sldMk cId="1447804453" sldId="303"/>
            <ac:spMk id="4" creationId="{3B1EE35D-1626-448C-9DFC-E60EE0F1A950}"/>
          </ac:spMkLst>
        </pc:spChg>
        <pc:spChg chg="add mod">
          <ac:chgData name="Thomas Stensitzki" userId="75cafe6b-2f2a-469b-85c4-eec3b9c972ba" providerId="ADAL" clId="{AAD96DC6-27DA-4212-8382-67920AB94B8D}" dt="2021-08-14T15:26:29.021" v="207" actId="20577"/>
          <ac:spMkLst>
            <pc:docMk/>
            <pc:sldMk cId="1447804453" sldId="303"/>
            <ac:spMk id="27" creationId="{0BAFDAD7-F2E7-4FF0-8945-EE00FE30CE81}"/>
          </ac:spMkLst>
        </pc:spChg>
        <pc:picChg chg="add mod">
          <ac:chgData name="Thomas Stensitzki" userId="75cafe6b-2f2a-469b-85c4-eec3b9c972ba" providerId="ADAL" clId="{AAD96DC6-27DA-4212-8382-67920AB94B8D}" dt="2021-08-14T15:24:05.228" v="70" actId="1076"/>
          <ac:picMkLst>
            <pc:docMk/>
            <pc:sldMk cId="1447804453" sldId="303"/>
            <ac:picMk id="5" creationId="{B45DC66E-59A5-413E-8CD2-3DD8932CCE3C}"/>
          </ac:picMkLst>
        </pc:picChg>
        <pc:picChg chg="add mod">
          <ac:chgData name="Thomas Stensitzki" userId="75cafe6b-2f2a-469b-85c4-eec3b9c972ba" providerId="ADAL" clId="{AAD96DC6-27DA-4212-8382-67920AB94B8D}" dt="2021-08-14T15:25:02.418" v="77" actId="1076"/>
          <ac:picMkLst>
            <pc:docMk/>
            <pc:sldMk cId="1447804453" sldId="303"/>
            <ac:picMk id="22" creationId="{BDF5EDED-61F0-49A8-AE48-2657056A7EF0}"/>
          </ac:picMkLst>
        </pc:picChg>
        <pc:picChg chg="del">
          <ac:chgData name="Thomas Stensitzki" userId="75cafe6b-2f2a-469b-85c4-eec3b9c972ba" providerId="ADAL" clId="{AAD96DC6-27DA-4212-8382-67920AB94B8D}" dt="2021-08-14T15:22:22.217" v="64" actId="478"/>
          <ac:picMkLst>
            <pc:docMk/>
            <pc:sldMk cId="1447804453" sldId="303"/>
            <ac:picMk id="23" creationId="{A678CF66-08A5-432A-9938-919C8922A36E}"/>
          </ac:picMkLst>
        </pc:picChg>
        <pc:cxnChg chg="del mod">
          <ac:chgData name="Thomas Stensitzki" userId="75cafe6b-2f2a-469b-85c4-eec3b9c972ba" providerId="ADAL" clId="{AAD96DC6-27DA-4212-8382-67920AB94B8D}" dt="2021-08-14T15:22:27.921" v="65" actId="478"/>
          <ac:cxnSpMkLst>
            <pc:docMk/>
            <pc:sldMk cId="1447804453" sldId="303"/>
            <ac:cxnSpMk id="7" creationId="{85122450-227A-47B7-9509-0E5B5F419191}"/>
          </ac:cxnSpMkLst>
        </pc:cxnChg>
        <pc:cxnChg chg="mod">
          <ac:chgData name="Thomas Stensitzki" userId="75cafe6b-2f2a-469b-85c4-eec3b9c972ba" providerId="ADAL" clId="{AAD96DC6-27DA-4212-8382-67920AB94B8D}" dt="2021-08-14T15:24:08.979" v="71" actId="14100"/>
          <ac:cxnSpMkLst>
            <pc:docMk/>
            <pc:sldMk cId="1447804453" sldId="303"/>
            <ac:cxnSpMk id="14" creationId="{EB2EEE35-F94F-4773-8963-9E72ED0A87EB}"/>
          </ac:cxnSpMkLst>
        </pc:cxnChg>
        <pc:cxnChg chg="add mod">
          <ac:chgData name="Thomas Stensitzki" userId="75cafe6b-2f2a-469b-85c4-eec3b9c972ba" providerId="ADAL" clId="{AAD96DC6-27DA-4212-8382-67920AB94B8D}" dt="2021-08-14T15:24:43.155" v="75" actId="208"/>
          <ac:cxnSpMkLst>
            <pc:docMk/>
            <pc:sldMk cId="1447804453" sldId="303"/>
            <ac:cxnSpMk id="16" creationId="{3C60435B-AE29-4678-8C65-0DF50E2C9270}"/>
          </ac:cxnSpMkLst>
        </pc:cxnChg>
        <pc:cxnChg chg="add mod">
          <ac:chgData name="Thomas Stensitzki" userId="75cafe6b-2f2a-469b-85c4-eec3b9c972ba" providerId="ADAL" clId="{AAD96DC6-27DA-4212-8382-67920AB94B8D}" dt="2021-08-14T15:25:30.160" v="82" actId="693"/>
          <ac:cxnSpMkLst>
            <pc:docMk/>
            <pc:sldMk cId="1447804453" sldId="303"/>
            <ac:cxnSpMk id="24" creationId="{96EDC8B4-7A4E-4DC0-958B-AAC6E3984A90}"/>
          </ac:cxnSpMkLst>
        </pc:cxnChg>
      </pc:sldChg>
      <pc:sldChg chg="addSp delSp modSp add mod modAnim">
        <pc:chgData name="Thomas Stensitzki" userId="75cafe6b-2f2a-469b-85c4-eec3b9c972ba" providerId="ADAL" clId="{AAD96DC6-27DA-4212-8382-67920AB94B8D}" dt="2021-08-17T08:08:56.537" v="649"/>
        <pc:sldMkLst>
          <pc:docMk/>
          <pc:sldMk cId="2082075540" sldId="304"/>
        </pc:sldMkLst>
        <pc:spChg chg="mod">
          <ac:chgData name="Thomas Stensitzki" userId="75cafe6b-2f2a-469b-85c4-eec3b9c972ba" providerId="ADAL" clId="{AAD96DC6-27DA-4212-8382-67920AB94B8D}" dt="2021-08-14T15:28:45.521" v="283" actId="1076"/>
          <ac:spMkLst>
            <pc:docMk/>
            <pc:sldMk cId="2082075540" sldId="304"/>
            <ac:spMk id="27" creationId="{0BAFDAD7-F2E7-4FF0-8945-EE00FE30CE81}"/>
          </ac:spMkLst>
        </pc:spChg>
        <pc:picChg chg="del">
          <ac:chgData name="Thomas Stensitzki" userId="75cafe6b-2f2a-469b-85c4-eec3b9c972ba" providerId="ADAL" clId="{AAD96DC6-27DA-4212-8382-67920AB94B8D}" dt="2021-08-14T15:28:57.054" v="285" actId="478"/>
          <ac:picMkLst>
            <pc:docMk/>
            <pc:sldMk cId="2082075540" sldId="304"/>
            <ac:picMk id="5" creationId="{B45DC66E-59A5-413E-8CD2-3DD8932CCE3C}"/>
          </ac:picMkLst>
        </pc:picChg>
        <pc:picChg chg="add mod">
          <ac:chgData name="Thomas Stensitzki" userId="75cafe6b-2f2a-469b-85c4-eec3b9c972ba" providerId="ADAL" clId="{AAD96DC6-27DA-4212-8382-67920AB94B8D}" dt="2021-08-17T08:08:21.298" v="646" actId="1076"/>
          <ac:picMkLst>
            <pc:docMk/>
            <pc:sldMk cId="2082075540" sldId="304"/>
            <ac:picMk id="18" creationId="{8BF51380-89AC-4CD5-9F6B-7FF6A748B8DA}"/>
          </ac:picMkLst>
        </pc:picChg>
        <pc:picChg chg="add mod">
          <ac:chgData name="Thomas Stensitzki" userId="75cafe6b-2f2a-469b-85c4-eec3b9c972ba" providerId="ADAL" clId="{AAD96DC6-27DA-4212-8382-67920AB94B8D}" dt="2021-08-17T08:08:45.567" v="648" actId="1076"/>
          <ac:picMkLst>
            <pc:docMk/>
            <pc:sldMk cId="2082075540" sldId="304"/>
            <ac:picMk id="19" creationId="{027B626A-47DB-4EAC-BC88-CD607E42AB6D}"/>
          </ac:picMkLst>
        </pc:picChg>
        <pc:picChg chg="del">
          <ac:chgData name="Thomas Stensitzki" userId="75cafe6b-2f2a-469b-85c4-eec3b9c972ba" providerId="ADAL" clId="{AAD96DC6-27DA-4212-8382-67920AB94B8D}" dt="2021-08-14T15:29:09.109" v="288" actId="478"/>
          <ac:picMkLst>
            <pc:docMk/>
            <pc:sldMk cId="2082075540" sldId="304"/>
            <ac:picMk id="22" creationId="{BDF5EDED-61F0-49A8-AE48-2657056A7EF0}"/>
          </ac:picMkLst>
        </pc:picChg>
        <pc:cxnChg chg="mod">
          <ac:chgData name="Thomas Stensitzki" userId="75cafe6b-2f2a-469b-85c4-eec3b9c972ba" providerId="ADAL" clId="{AAD96DC6-27DA-4212-8382-67920AB94B8D}" dt="2021-08-14T15:28:54.078" v="284" actId="14100"/>
          <ac:cxnSpMkLst>
            <pc:docMk/>
            <pc:sldMk cId="2082075540" sldId="304"/>
            <ac:cxnSpMk id="14" creationId="{EB2EEE35-F94F-4773-8963-9E72ED0A87EB}"/>
          </ac:cxnSpMkLst>
        </pc:cxnChg>
        <pc:cxnChg chg="mod">
          <ac:chgData name="Thomas Stensitzki" userId="75cafe6b-2f2a-469b-85c4-eec3b9c972ba" providerId="ADAL" clId="{AAD96DC6-27DA-4212-8382-67920AB94B8D}" dt="2021-08-14T15:29:06.612" v="287" actId="14100"/>
          <ac:cxnSpMkLst>
            <pc:docMk/>
            <pc:sldMk cId="2082075540" sldId="304"/>
            <ac:cxnSpMk id="16" creationId="{3C60435B-AE29-4678-8C65-0DF50E2C9270}"/>
          </ac:cxnSpMkLst>
        </pc:cxnChg>
        <pc:cxnChg chg="del mod">
          <ac:chgData name="Thomas Stensitzki" userId="75cafe6b-2f2a-469b-85c4-eec3b9c972ba" providerId="ADAL" clId="{AAD96DC6-27DA-4212-8382-67920AB94B8D}" dt="2021-08-14T15:28:59.376" v="286" actId="478"/>
          <ac:cxnSpMkLst>
            <pc:docMk/>
            <pc:sldMk cId="2082075540" sldId="304"/>
            <ac:cxnSpMk id="24" creationId="{96EDC8B4-7A4E-4DC0-958B-AAC6E3984A90}"/>
          </ac:cxnSpMkLst>
        </pc:cxnChg>
      </pc:sldChg>
      <pc:sldChg chg="addSp delSp modSp add mod modAnim">
        <pc:chgData name="Thomas Stensitzki" userId="75cafe6b-2f2a-469b-85c4-eec3b9c972ba" providerId="ADAL" clId="{AAD96DC6-27DA-4212-8382-67920AB94B8D}" dt="2021-08-17T08:11:35.662" v="662"/>
        <pc:sldMkLst>
          <pc:docMk/>
          <pc:sldMk cId="994848826" sldId="305"/>
        </pc:sldMkLst>
        <pc:spChg chg="mod">
          <ac:chgData name="Thomas Stensitzki" userId="75cafe6b-2f2a-469b-85c4-eec3b9c972ba" providerId="ADAL" clId="{AAD96DC6-27DA-4212-8382-67920AB94B8D}" dt="2021-08-14T15:41:20.537" v="367" actId="20577"/>
          <ac:spMkLst>
            <pc:docMk/>
            <pc:sldMk cId="994848826" sldId="305"/>
            <ac:spMk id="4" creationId="{3B1EE35D-1626-448C-9DFC-E60EE0F1A950}"/>
          </ac:spMkLst>
        </pc:spChg>
        <pc:spChg chg="del mod">
          <ac:chgData name="Thomas Stensitzki" userId="75cafe6b-2f2a-469b-85c4-eec3b9c972ba" providerId="ADAL" clId="{AAD96DC6-27DA-4212-8382-67920AB94B8D}" dt="2021-08-14T15:41:33.040" v="369" actId="478"/>
          <ac:spMkLst>
            <pc:docMk/>
            <pc:sldMk cId="994848826" sldId="305"/>
            <ac:spMk id="27" creationId="{0BAFDAD7-F2E7-4FF0-8945-EE00FE30CE81}"/>
          </ac:spMkLst>
        </pc:spChg>
        <pc:spChg chg="add del mod">
          <ac:chgData name="Thomas Stensitzki" userId="75cafe6b-2f2a-469b-85c4-eec3b9c972ba" providerId="ADAL" clId="{AAD96DC6-27DA-4212-8382-67920AB94B8D}" dt="2021-08-14T15:41:52.764" v="372" actId="478"/>
          <ac:spMkLst>
            <pc:docMk/>
            <pc:sldMk cId="994848826" sldId="305"/>
            <ac:spMk id="33" creationId="{D10F5F80-4017-46A3-A0FB-844F05464D37}"/>
          </ac:spMkLst>
        </pc:spChg>
        <pc:picChg chg="add mod">
          <ac:chgData name="Thomas Stensitzki" userId="75cafe6b-2f2a-469b-85c4-eec3b9c972ba" providerId="ADAL" clId="{AAD96DC6-27DA-4212-8382-67920AB94B8D}" dt="2021-08-14T15:39:29.882" v="307" actId="1076"/>
          <ac:picMkLst>
            <pc:docMk/>
            <pc:sldMk cId="994848826" sldId="305"/>
            <ac:picMk id="5" creationId="{28739203-6752-415B-8CC7-4871CE9A0C8F}"/>
          </ac:picMkLst>
        </pc:picChg>
        <pc:picChg chg="add del mod">
          <ac:chgData name="Thomas Stensitzki" userId="75cafe6b-2f2a-469b-85c4-eec3b9c972ba" providerId="ADAL" clId="{AAD96DC6-27DA-4212-8382-67920AB94B8D}" dt="2021-08-14T15:38:46.313" v="300" actId="478"/>
          <ac:picMkLst>
            <pc:docMk/>
            <pc:sldMk cId="994848826" sldId="305"/>
            <ac:picMk id="8" creationId="{4524A126-B3FC-41CB-8D69-32E5E7ED053B}"/>
          </ac:picMkLst>
        </pc:picChg>
        <pc:picChg chg="add mod">
          <ac:chgData name="Thomas Stensitzki" userId="75cafe6b-2f2a-469b-85c4-eec3b9c972ba" providerId="ADAL" clId="{AAD96DC6-27DA-4212-8382-67920AB94B8D}" dt="2021-08-14T15:38:52.491" v="301" actId="1076"/>
          <ac:picMkLst>
            <pc:docMk/>
            <pc:sldMk cId="994848826" sldId="305"/>
            <ac:picMk id="18" creationId="{57FCC296-27F8-461A-9923-58A0FEDB9A28}"/>
          </ac:picMkLst>
        </pc:picChg>
        <pc:picChg chg="mod">
          <ac:chgData name="Thomas Stensitzki" userId="75cafe6b-2f2a-469b-85c4-eec3b9c972ba" providerId="ADAL" clId="{AAD96DC6-27DA-4212-8382-67920AB94B8D}" dt="2021-08-14T15:39:36.903" v="308" actId="1076"/>
          <ac:picMkLst>
            <pc:docMk/>
            <pc:sldMk cId="994848826" sldId="305"/>
            <ac:picMk id="20" creationId="{598168DF-E2C1-4425-92E6-722D97A426E7}"/>
          </ac:picMkLst>
        </pc:picChg>
        <pc:picChg chg="del">
          <ac:chgData name="Thomas Stensitzki" userId="75cafe6b-2f2a-469b-85c4-eec3b9c972ba" providerId="ADAL" clId="{AAD96DC6-27DA-4212-8382-67920AB94B8D}" dt="2021-08-14T15:32:45.741" v="292" actId="478"/>
          <ac:picMkLst>
            <pc:docMk/>
            <pc:sldMk cId="994848826" sldId="305"/>
            <ac:picMk id="21" creationId="{EB8E2D90-A86A-4119-AFF8-81A297DA999C}"/>
          </ac:picMkLst>
        </pc:picChg>
        <pc:cxnChg chg="mod">
          <ac:chgData name="Thomas Stensitzki" userId="75cafe6b-2f2a-469b-85c4-eec3b9c972ba" providerId="ADAL" clId="{AAD96DC6-27DA-4212-8382-67920AB94B8D}" dt="2021-08-14T15:39:36.903" v="308" actId="1076"/>
          <ac:cxnSpMkLst>
            <pc:docMk/>
            <pc:sldMk cId="994848826" sldId="305"/>
            <ac:cxnSpMk id="14" creationId="{EB2EEE35-F94F-4773-8963-9E72ED0A87EB}"/>
          </ac:cxnSpMkLst>
        </pc:cxnChg>
        <pc:cxnChg chg="mod">
          <ac:chgData name="Thomas Stensitzki" userId="75cafe6b-2f2a-469b-85c4-eec3b9c972ba" providerId="ADAL" clId="{AAD96DC6-27DA-4212-8382-67920AB94B8D}" dt="2021-08-14T15:39:29.882" v="307" actId="1076"/>
          <ac:cxnSpMkLst>
            <pc:docMk/>
            <pc:sldMk cId="994848826" sldId="305"/>
            <ac:cxnSpMk id="16" creationId="{3C60435B-AE29-4678-8C65-0DF50E2C9270}"/>
          </ac:cxnSpMkLst>
        </pc:cxnChg>
        <pc:cxnChg chg="add mod">
          <ac:chgData name="Thomas Stensitzki" userId="75cafe6b-2f2a-469b-85c4-eec3b9c972ba" providerId="ADAL" clId="{AAD96DC6-27DA-4212-8382-67920AB94B8D}" dt="2021-08-14T15:40:25.170" v="314" actId="693"/>
          <ac:cxnSpMkLst>
            <pc:docMk/>
            <pc:sldMk cId="994848826" sldId="305"/>
            <ac:cxnSpMk id="28" creationId="{C56EAEF4-CCC7-48B4-8199-F5C05CDC696C}"/>
          </ac:cxnSpMkLst>
        </pc:cxnChg>
        <pc:cxnChg chg="add mod">
          <ac:chgData name="Thomas Stensitzki" userId="75cafe6b-2f2a-469b-85c4-eec3b9c972ba" providerId="ADAL" clId="{AAD96DC6-27DA-4212-8382-67920AB94B8D}" dt="2021-08-14T15:40:40.472" v="318" actId="14100"/>
          <ac:cxnSpMkLst>
            <pc:docMk/>
            <pc:sldMk cId="994848826" sldId="305"/>
            <ac:cxnSpMk id="29" creationId="{7A55F30A-D497-4E1A-98A8-1027D4BCABD9}"/>
          </ac:cxnSpMkLst>
        </pc:cxnChg>
      </pc:sldChg>
      <pc:sldChg chg="addSp delSp modSp add mod modAnim">
        <pc:chgData name="Thomas Stensitzki" userId="75cafe6b-2f2a-469b-85c4-eec3b9c972ba" providerId="ADAL" clId="{AAD96DC6-27DA-4212-8382-67920AB94B8D}" dt="2021-08-17T08:03:46.122" v="578"/>
        <pc:sldMkLst>
          <pc:docMk/>
          <pc:sldMk cId="3392101237" sldId="306"/>
        </pc:sldMkLst>
        <pc:spChg chg="mod">
          <ac:chgData name="Thomas Stensitzki" userId="75cafe6b-2f2a-469b-85c4-eec3b9c972ba" providerId="ADAL" clId="{AAD96DC6-27DA-4212-8382-67920AB94B8D}" dt="2021-08-14T15:44:31.741" v="424" actId="20577"/>
          <ac:spMkLst>
            <pc:docMk/>
            <pc:sldMk cId="3392101237" sldId="306"/>
            <ac:spMk id="4" creationId="{3B1EE35D-1626-448C-9DFC-E60EE0F1A950}"/>
          </ac:spMkLst>
        </pc:spChg>
        <pc:spChg chg="mod">
          <ac:chgData name="Thomas Stensitzki" userId="75cafe6b-2f2a-469b-85c4-eec3b9c972ba" providerId="ADAL" clId="{AAD96DC6-27DA-4212-8382-67920AB94B8D}" dt="2021-08-14T15:47:15.616" v="462" actId="20577"/>
          <ac:spMkLst>
            <pc:docMk/>
            <pc:sldMk cId="3392101237" sldId="306"/>
            <ac:spMk id="22" creationId="{68E2C85D-6599-43FC-BEBA-26199AF1B1DA}"/>
          </ac:spMkLst>
        </pc:spChg>
        <pc:spChg chg="add mod">
          <ac:chgData name="Thomas Stensitzki" userId="75cafe6b-2f2a-469b-85c4-eec3b9c972ba" providerId="ADAL" clId="{AAD96DC6-27DA-4212-8382-67920AB94B8D}" dt="2021-08-14T15:47:58.609" v="496" actId="1076"/>
          <ac:spMkLst>
            <pc:docMk/>
            <pc:sldMk cId="3392101237" sldId="306"/>
            <ac:spMk id="29" creationId="{85CFD54D-E144-445A-A898-AF4B7AE69F58}"/>
          </ac:spMkLst>
        </pc:spChg>
        <pc:grpChg chg="add mod">
          <ac:chgData name="Thomas Stensitzki" userId="75cafe6b-2f2a-469b-85c4-eec3b9c972ba" providerId="ADAL" clId="{AAD96DC6-27DA-4212-8382-67920AB94B8D}" dt="2021-08-17T08:03:07.118" v="575" actId="164"/>
          <ac:grpSpMkLst>
            <pc:docMk/>
            <pc:sldMk cId="3392101237" sldId="306"/>
            <ac:grpSpMk id="19" creationId="{99CE32AE-31BF-4B2F-88E5-9A8D4E606F2B}"/>
          </ac:grpSpMkLst>
        </pc:grpChg>
        <pc:picChg chg="add mod">
          <ac:chgData name="Thomas Stensitzki" userId="75cafe6b-2f2a-469b-85c4-eec3b9c972ba" providerId="ADAL" clId="{AAD96DC6-27DA-4212-8382-67920AB94B8D}" dt="2021-08-17T08:03:07.118" v="575" actId="164"/>
          <ac:picMkLst>
            <pc:docMk/>
            <pc:sldMk cId="3392101237" sldId="306"/>
            <ac:picMk id="6" creationId="{32D39D4A-C549-46F6-81CD-8FDDF774FFEB}"/>
          </ac:picMkLst>
        </pc:picChg>
        <pc:picChg chg="add mod">
          <ac:chgData name="Thomas Stensitzki" userId="75cafe6b-2f2a-469b-85c4-eec3b9c972ba" providerId="ADAL" clId="{AAD96DC6-27DA-4212-8382-67920AB94B8D}" dt="2021-08-17T08:03:07.118" v="575" actId="164"/>
          <ac:picMkLst>
            <pc:docMk/>
            <pc:sldMk cId="3392101237" sldId="306"/>
            <ac:picMk id="9" creationId="{4CDC3899-F8AD-4774-A6BA-FD634E07B384}"/>
          </ac:picMkLst>
        </pc:picChg>
        <pc:picChg chg="del">
          <ac:chgData name="Thomas Stensitzki" userId="75cafe6b-2f2a-469b-85c4-eec3b9c972ba" providerId="ADAL" clId="{AAD96DC6-27DA-4212-8382-67920AB94B8D}" dt="2021-08-17T08:02:28.005" v="571" actId="478"/>
          <ac:picMkLst>
            <pc:docMk/>
            <pc:sldMk cId="3392101237" sldId="306"/>
            <ac:picMk id="20" creationId="{598168DF-E2C1-4425-92E6-722D97A426E7}"/>
          </ac:picMkLst>
        </pc:picChg>
        <pc:picChg chg="add mod">
          <ac:chgData name="Thomas Stensitzki" userId="75cafe6b-2f2a-469b-85c4-eec3b9c972ba" providerId="ADAL" clId="{AAD96DC6-27DA-4212-8382-67920AB94B8D}" dt="2021-08-14T15:45:26.738" v="430" actId="1076"/>
          <ac:picMkLst>
            <pc:docMk/>
            <pc:sldMk cId="3392101237" sldId="306"/>
            <ac:picMk id="23" creationId="{125EA656-2C43-4042-A921-E4636AAA1591}"/>
          </ac:picMkLst>
        </pc:picChg>
        <pc:picChg chg="add mod">
          <ac:chgData name="Thomas Stensitzki" userId="75cafe6b-2f2a-469b-85c4-eec3b9c972ba" providerId="ADAL" clId="{AAD96DC6-27DA-4212-8382-67920AB94B8D}" dt="2021-08-14T15:46:21.969" v="436" actId="1076"/>
          <ac:picMkLst>
            <pc:docMk/>
            <pc:sldMk cId="3392101237" sldId="306"/>
            <ac:picMk id="25" creationId="{425E774C-459C-4752-86EC-DA82FD82575B}"/>
          </ac:picMkLst>
        </pc:picChg>
        <pc:cxnChg chg="del mod">
          <ac:chgData name="Thomas Stensitzki" userId="75cafe6b-2f2a-469b-85c4-eec3b9c972ba" providerId="ADAL" clId="{AAD96DC6-27DA-4212-8382-67920AB94B8D}" dt="2021-08-17T08:02:28.884" v="572" actId="478"/>
          <ac:cxnSpMkLst>
            <pc:docMk/>
            <pc:sldMk cId="3392101237" sldId="306"/>
            <ac:cxnSpMk id="14" creationId="{EB2EEE35-F94F-4773-8963-9E72ED0A87EB}"/>
          </ac:cxnSpMkLst>
        </pc:cxnChg>
        <pc:cxnChg chg="add mod">
          <ac:chgData name="Thomas Stensitzki" userId="75cafe6b-2f2a-469b-85c4-eec3b9c972ba" providerId="ADAL" clId="{AAD96DC6-27DA-4212-8382-67920AB94B8D}" dt="2021-08-14T15:46:03.908" v="434" actId="14100"/>
          <ac:cxnSpMkLst>
            <pc:docMk/>
            <pc:sldMk cId="3392101237" sldId="306"/>
            <ac:cxnSpMk id="24" creationId="{22EBB72E-81E1-463A-AA2B-6E7E651B794E}"/>
          </ac:cxnSpMkLst>
        </pc:cxnChg>
        <pc:cxnChg chg="add mod">
          <ac:chgData name="Thomas Stensitzki" userId="75cafe6b-2f2a-469b-85c4-eec3b9c972ba" providerId="ADAL" clId="{AAD96DC6-27DA-4212-8382-67920AB94B8D}" dt="2021-08-14T15:46:40.768" v="441" actId="33986"/>
          <ac:cxnSpMkLst>
            <pc:docMk/>
            <pc:sldMk cId="3392101237" sldId="306"/>
            <ac:cxnSpMk id="26" creationId="{E8E25745-7694-419A-A408-A500E94EB567}"/>
          </ac:cxnSpMkLst>
        </pc:cxnChg>
      </pc:sldChg>
      <pc:sldChg chg="modSp new del">
        <pc:chgData name="Thomas Stensitzki" userId="75cafe6b-2f2a-469b-85c4-eec3b9c972ba" providerId="ADAL" clId="{AAD96DC6-27DA-4212-8382-67920AB94B8D}" dt="2021-08-17T08:04:36.060" v="589" actId="2696"/>
        <pc:sldMkLst>
          <pc:docMk/>
          <pc:sldMk cId="3038913925" sldId="307"/>
        </pc:sldMkLst>
        <pc:spChg chg="mod">
          <ac:chgData name="Thomas Stensitzki" userId="75cafe6b-2f2a-469b-85c4-eec3b9c972ba" providerId="ADAL" clId="{AAD96DC6-27DA-4212-8382-67920AB94B8D}" dt="2021-08-17T08:04:28.675" v="588" actId="20577"/>
          <ac:spMkLst>
            <pc:docMk/>
            <pc:sldMk cId="3038913925" sldId="307"/>
            <ac:spMk id="2" creationId="{8EF25075-CCAB-4CC0-A3CB-A5FE739F93DA}"/>
          </ac:spMkLst>
        </pc:spChg>
      </pc:sldChg>
      <pc:sldChg chg="addSp delSp modSp add mod ord">
        <pc:chgData name="Thomas Stensitzki" userId="75cafe6b-2f2a-469b-85c4-eec3b9c972ba" providerId="ADAL" clId="{AAD96DC6-27DA-4212-8382-67920AB94B8D}" dt="2021-08-17T08:18:41.284" v="1054"/>
        <pc:sldMkLst>
          <pc:docMk/>
          <pc:sldMk cId="3239972118" sldId="307"/>
        </pc:sldMkLst>
        <pc:spChg chg="mod">
          <ac:chgData name="Thomas Stensitzki" userId="75cafe6b-2f2a-469b-85c4-eec3b9c972ba" providerId="ADAL" clId="{AAD96DC6-27DA-4212-8382-67920AB94B8D}" dt="2021-08-17T08:06:16.542" v="635" actId="20577"/>
          <ac:spMkLst>
            <pc:docMk/>
            <pc:sldMk cId="3239972118" sldId="307"/>
            <ac:spMk id="6" creationId="{18D200D1-8891-428B-906E-405BAD75EB9A}"/>
          </ac:spMkLst>
        </pc:spChg>
        <pc:picChg chg="add del mod">
          <ac:chgData name="Thomas Stensitzki" userId="75cafe6b-2f2a-469b-85c4-eec3b9c972ba" providerId="ADAL" clId="{AAD96DC6-27DA-4212-8382-67920AB94B8D}" dt="2021-08-17T08:18:41.015" v="1053" actId="478"/>
          <ac:picMkLst>
            <pc:docMk/>
            <pc:sldMk cId="3239972118" sldId="307"/>
            <ac:picMk id="3" creationId="{A88C536D-F7EA-4460-ADE5-9033F4ECF806}"/>
          </ac:picMkLst>
        </pc:picChg>
        <pc:picChg chg="add mod">
          <ac:chgData name="Thomas Stensitzki" userId="75cafe6b-2f2a-469b-85c4-eec3b9c972ba" providerId="ADAL" clId="{AAD96DC6-27DA-4212-8382-67920AB94B8D}" dt="2021-08-17T08:18:41.284" v="1054"/>
          <ac:picMkLst>
            <pc:docMk/>
            <pc:sldMk cId="3239972118" sldId="307"/>
            <ac:picMk id="7" creationId="{1F2F1CCA-AAE3-4AB7-900C-AA5031FE15CC}"/>
          </ac:picMkLst>
        </pc:picChg>
      </pc:sldChg>
      <pc:sldChg chg="addSp delSp modSp add mod ord">
        <pc:chgData name="Thomas Stensitzki" userId="75cafe6b-2f2a-469b-85c4-eec3b9c972ba" providerId="ADAL" clId="{AAD96DC6-27DA-4212-8382-67920AB94B8D}" dt="2021-08-17T08:18:36.362" v="1052"/>
        <pc:sldMkLst>
          <pc:docMk/>
          <pc:sldMk cId="2357793335" sldId="308"/>
        </pc:sldMkLst>
        <pc:spChg chg="mod">
          <ac:chgData name="Thomas Stensitzki" userId="75cafe6b-2f2a-469b-85c4-eec3b9c972ba" providerId="ADAL" clId="{AAD96DC6-27DA-4212-8382-67920AB94B8D}" dt="2021-08-17T08:12:56.770" v="670" actId="20577"/>
          <ac:spMkLst>
            <pc:docMk/>
            <pc:sldMk cId="2357793335" sldId="308"/>
            <ac:spMk id="5" creationId="{40526724-AC26-4B64-8CBD-388146F21F10}"/>
          </ac:spMkLst>
        </pc:spChg>
        <pc:picChg chg="del">
          <ac:chgData name="Thomas Stensitzki" userId="75cafe6b-2f2a-469b-85c4-eec3b9c972ba" providerId="ADAL" clId="{AAD96DC6-27DA-4212-8382-67920AB94B8D}" dt="2021-08-17T08:18:35.997" v="1051" actId="478"/>
          <ac:picMkLst>
            <pc:docMk/>
            <pc:sldMk cId="2357793335" sldId="308"/>
            <ac:picMk id="3" creationId="{A88C536D-F7EA-4460-ADE5-9033F4ECF806}"/>
          </ac:picMkLst>
        </pc:picChg>
        <pc:picChg chg="add mod">
          <ac:chgData name="Thomas Stensitzki" userId="75cafe6b-2f2a-469b-85c4-eec3b9c972ba" providerId="ADAL" clId="{AAD96DC6-27DA-4212-8382-67920AB94B8D}" dt="2021-08-17T08:18:36.362" v="1052"/>
          <ac:picMkLst>
            <pc:docMk/>
            <pc:sldMk cId="2357793335" sldId="308"/>
            <ac:picMk id="7" creationId="{970EDB4A-71D0-4D14-8D7C-3E03C45F989C}"/>
          </ac:picMkLst>
        </pc:picChg>
      </pc:sldChg>
      <pc:sldChg chg="modSp add mod ord">
        <pc:chgData name="Thomas Stensitzki" userId="75cafe6b-2f2a-469b-85c4-eec3b9c972ba" providerId="ADAL" clId="{AAD96DC6-27DA-4212-8382-67920AB94B8D}" dt="2021-08-17T08:13:15.910" v="691" actId="6549"/>
        <pc:sldMkLst>
          <pc:docMk/>
          <pc:sldMk cId="1910973575" sldId="309"/>
        </pc:sldMkLst>
        <pc:spChg chg="mod">
          <ac:chgData name="Thomas Stensitzki" userId="75cafe6b-2f2a-469b-85c4-eec3b9c972ba" providerId="ADAL" clId="{AAD96DC6-27DA-4212-8382-67920AB94B8D}" dt="2021-08-17T08:13:12.551" v="690" actId="20577"/>
          <ac:spMkLst>
            <pc:docMk/>
            <pc:sldMk cId="1910973575" sldId="309"/>
            <ac:spMk id="5" creationId="{40526724-AC26-4B64-8CBD-388146F21F10}"/>
          </ac:spMkLst>
        </pc:spChg>
        <pc:spChg chg="mod">
          <ac:chgData name="Thomas Stensitzki" userId="75cafe6b-2f2a-469b-85c4-eec3b9c972ba" providerId="ADAL" clId="{AAD96DC6-27DA-4212-8382-67920AB94B8D}" dt="2021-08-17T08:13:15.910" v="691" actId="6549"/>
          <ac:spMkLst>
            <pc:docMk/>
            <pc:sldMk cId="1910973575" sldId="309"/>
            <ac:spMk id="6" creationId="{18D200D1-8891-428B-906E-405BAD75EB9A}"/>
          </ac:spMkLst>
        </pc:spChg>
      </pc:sldChg>
      <pc:sldChg chg="modSp add mod ord modAnim">
        <pc:chgData name="Thomas Stensitzki" userId="75cafe6b-2f2a-469b-85c4-eec3b9c972ba" providerId="ADAL" clId="{AAD96DC6-27DA-4212-8382-67920AB94B8D}" dt="2021-08-17T08:18:04.167" v="1029" actId="20577"/>
        <pc:sldMkLst>
          <pc:docMk/>
          <pc:sldMk cId="2494226421" sldId="310"/>
        </pc:sldMkLst>
        <pc:spChg chg="mod">
          <ac:chgData name="Thomas Stensitzki" userId="75cafe6b-2f2a-469b-85c4-eec3b9c972ba" providerId="ADAL" clId="{AAD96DC6-27DA-4212-8382-67920AB94B8D}" dt="2021-08-17T08:13:31.766" v="711" actId="20577"/>
          <ac:spMkLst>
            <pc:docMk/>
            <pc:sldMk cId="2494226421" sldId="310"/>
            <ac:spMk id="2" creationId="{F583E72D-6B05-443F-89A3-75655896DE97}"/>
          </ac:spMkLst>
        </pc:spChg>
        <pc:spChg chg="mod">
          <ac:chgData name="Thomas Stensitzki" userId="75cafe6b-2f2a-469b-85c4-eec3b9c972ba" providerId="ADAL" clId="{AAD96DC6-27DA-4212-8382-67920AB94B8D}" dt="2021-08-17T08:18:04.167" v="1029" actId="20577"/>
          <ac:spMkLst>
            <pc:docMk/>
            <pc:sldMk cId="2494226421" sldId="310"/>
            <ac:spMk id="3" creationId="{B256846A-016A-41DB-B7E5-DCE0DFC3EDC6}"/>
          </ac:spMkLst>
        </pc:spChg>
      </pc:sldChg>
      <pc:sldChg chg="modSp add mod ord">
        <pc:chgData name="Thomas Stensitzki" userId="75cafe6b-2f2a-469b-85c4-eec3b9c972ba" providerId="ADAL" clId="{AAD96DC6-27DA-4212-8382-67920AB94B8D}" dt="2021-08-17T08:18:32.758" v="1050" actId="1076"/>
        <pc:sldMkLst>
          <pc:docMk/>
          <pc:sldMk cId="2026421219" sldId="311"/>
        </pc:sldMkLst>
        <pc:spChg chg="mod">
          <ac:chgData name="Thomas Stensitzki" userId="75cafe6b-2f2a-469b-85c4-eec3b9c972ba" providerId="ADAL" clId="{AAD96DC6-27DA-4212-8382-67920AB94B8D}" dt="2021-08-17T08:18:27.256" v="1049" actId="20577"/>
          <ac:spMkLst>
            <pc:docMk/>
            <pc:sldMk cId="2026421219" sldId="311"/>
            <ac:spMk id="5" creationId="{40526724-AC26-4B64-8CBD-388146F21F10}"/>
          </ac:spMkLst>
        </pc:spChg>
        <pc:picChg chg="mod">
          <ac:chgData name="Thomas Stensitzki" userId="75cafe6b-2f2a-469b-85c4-eec3b9c972ba" providerId="ADAL" clId="{AAD96DC6-27DA-4212-8382-67920AB94B8D}" dt="2021-08-17T08:18:32.758" v="1050" actId="1076"/>
          <ac:picMkLst>
            <pc:docMk/>
            <pc:sldMk cId="2026421219" sldId="311"/>
            <ac:picMk id="3" creationId="{A88C536D-F7EA-4460-ADE5-9033F4ECF806}"/>
          </ac:picMkLst>
        </pc:picChg>
      </pc:sldChg>
      <pc:sldChg chg="new">
        <pc:chgData name="Thomas Stensitzki" userId="75cafe6b-2f2a-469b-85c4-eec3b9c972ba" providerId="ADAL" clId="{AAD96DC6-27DA-4212-8382-67920AB94B8D}" dt="2021-08-19T15:10:59.276" v="1069" actId="680"/>
        <pc:sldMkLst>
          <pc:docMk/>
          <pc:sldMk cId="1978042729" sldId="312"/>
        </pc:sldMkLst>
      </pc:sldChg>
    </pc:docChg>
  </pc:docChgLst>
  <pc:docChgLst>
    <pc:chgData name="Thomas Stensitzki" userId="75cafe6b-2f2a-469b-85c4-eec3b9c972ba" providerId="ADAL" clId="{D2817840-0453-4577-9133-4E2B9A119572}"/>
    <pc:docChg chg="delSld modSld delSection modSection">
      <pc:chgData name="Thomas Stensitzki" userId="75cafe6b-2f2a-469b-85c4-eec3b9c972ba" providerId="ADAL" clId="{D2817840-0453-4577-9133-4E2B9A119572}" dt="2021-02-08T10:53:15.690" v="21" actId="20577"/>
      <pc:docMkLst>
        <pc:docMk/>
      </pc:docMkLst>
      <pc:sldChg chg="modSp mod">
        <pc:chgData name="Thomas Stensitzki" userId="75cafe6b-2f2a-469b-85c4-eec3b9c972ba" providerId="ADAL" clId="{D2817840-0453-4577-9133-4E2B9A119572}" dt="2021-02-08T10:52:38.305" v="16" actId="20577"/>
        <pc:sldMkLst>
          <pc:docMk/>
          <pc:sldMk cId="353304963" sldId="256"/>
        </pc:sldMkLst>
        <pc:spChg chg="mod">
          <ac:chgData name="Thomas Stensitzki" userId="75cafe6b-2f2a-469b-85c4-eec3b9c972ba" providerId="ADAL" clId="{D2817840-0453-4577-9133-4E2B9A119572}" dt="2021-02-08T10:52:38.305" v="16" actId="20577"/>
          <ac:spMkLst>
            <pc:docMk/>
            <pc:sldMk cId="353304963" sldId="256"/>
            <ac:spMk id="3" creationId="{00000000-0000-0000-0000-000000000000}"/>
          </ac:spMkLst>
        </pc:spChg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3986585176" sldId="258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577492687" sldId="259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2855165129" sldId="277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97044835" sldId="278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568040766" sldId="279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2488069756" sldId="280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3401715277" sldId="281"/>
        </pc:sldMkLst>
      </pc:sldChg>
      <pc:sldChg chg="del">
        <pc:chgData name="Thomas Stensitzki" userId="75cafe6b-2f2a-469b-85c4-eec3b9c972ba" providerId="ADAL" clId="{D2817840-0453-4577-9133-4E2B9A119572}" dt="2021-02-08T10:53:04.570" v="19" actId="47"/>
        <pc:sldMkLst>
          <pc:docMk/>
          <pc:sldMk cId="1813590357" sldId="282"/>
        </pc:sldMkLst>
      </pc:sldChg>
      <pc:sldChg chg="modSp">
        <pc:chgData name="Thomas Stensitzki" userId="75cafe6b-2f2a-469b-85c4-eec3b9c972ba" providerId="ADAL" clId="{D2817840-0453-4577-9133-4E2B9A119572}" dt="2021-02-08T10:53:15.690" v="21" actId="20577"/>
        <pc:sldMkLst>
          <pc:docMk/>
          <pc:sldMk cId="2726485231" sldId="284"/>
        </pc:sldMkLst>
        <pc:spChg chg="mod">
          <ac:chgData name="Thomas Stensitzki" userId="75cafe6b-2f2a-469b-85c4-eec3b9c972ba" providerId="ADAL" clId="{D2817840-0453-4577-9133-4E2B9A119572}" dt="2021-02-08T10:53:15.690" v="21" actId="20577"/>
          <ac:spMkLst>
            <pc:docMk/>
            <pc:sldMk cId="2726485231" sldId="284"/>
            <ac:spMk id="3" creationId="{852D7D7E-BA81-48A9-8091-7743702661A8}"/>
          </ac:spMkLst>
        </pc:spChg>
      </pc:sldChg>
    </pc:docChg>
  </pc:docChgLst>
  <pc:docChgLst>
    <pc:chgData name="Thomas Stensitzki" userId="75cafe6b-2f2a-469b-85c4-eec3b9c972ba" providerId="ADAL" clId="{E7CFEF31-F78D-4AB2-82EA-48FEA1DAF329}"/>
    <pc:docChg chg="undo custSel addSld delSld modSld sldOrd modSection">
      <pc:chgData name="Thomas Stensitzki" userId="75cafe6b-2f2a-469b-85c4-eec3b9c972ba" providerId="ADAL" clId="{E7CFEF31-F78D-4AB2-82EA-48FEA1DAF329}" dt="2022-11-04T10:44:04.918" v="7113" actId="20577"/>
      <pc:docMkLst>
        <pc:docMk/>
      </pc:docMkLst>
      <pc:sldChg chg="modSp mod">
        <pc:chgData name="Thomas Stensitzki" userId="75cafe6b-2f2a-469b-85c4-eec3b9c972ba" providerId="ADAL" clId="{E7CFEF31-F78D-4AB2-82EA-48FEA1DAF329}" dt="2022-08-19T06:52:41.855" v="7110" actId="6549"/>
        <pc:sldMkLst>
          <pc:docMk/>
          <pc:sldMk cId="353304963" sldId="256"/>
        </pc:sldMkLst>
        <pc:spChg chg="mod">
          <ac:chgData name="Thomas Stensitzki" userId="75cafe6b-2f2a-469b-85c4-eec3b9c972ba" providerId="ADAL" clId="{E7CFEF31-F78D-4AB2-82EA-48FEA1DAF329}" dt="2022-08-13T12:21:06.701" v="8" actId="20577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E7CFEF31-F78D-4AB2-82EA-48FEA1DAF329}" dt="2022-08-19T06:52:41.855" v="7110" actId="6549"/>
          <ac:spMkLst>
            <pc:docMk/>
            <pc:sldMk cId="353304963" sldId="256"/>
            <ac:spMk id="3" creationId="{00000000-0000-0000-0000-000000000000}"/>
          </ac:spMkLst>
        </pc:spChg>
      </pc:sldChg>
      <pc:sldChg chg="modSp">
        <pc:chgData name="Thomas Stensitzki" userId="75cafe6b-2f2a-469b-85c4-eec3b9c972ba" providerId="ADAL" clId="{E7CFEF31-F78D-4AB2-82EA-48FEA1DAF329}" dt="2022-08-13T14:55:47.182" v="4215" actId="20577"/>
        <pc:sldMkLst>
          <pc:docMk/>
          <pc:sldMk cId="2726485231" sldId="284"/>
        </pc:sldMkLst>
        <pc:spChg chg="mod">
          <ac:chgData name="Thomas Stensitzki" userId="75cafe6b-2f2a-469b-85c4-eec3b9c972ba" providerId="ADAL" clId="{E7CFEF31-F78D-4AB2-82EA-48FEA1DAF329}" dt="2022-08-13T14:55:47.182" v="4215" actId="20577"/>
          <ac:spMkLst>
            <pc:docMk/>
            <pc:sldMk cId="2726485231" sldId="284"/>
            <ac:spMk id="3" creationId="{852D7D7E-BA81-48A9-8091-7743702661A8}"/>
          </ac:spMkLst>
        </pc:spChg>
      </pc:sldChg>
      <pc:sldChg chg="modSp mod">
        <pc:chgData name="Thomas Stensitzki" userId="75cafe6b-2f2a-469b-85c4-eec3b9c972ba" providerId="ADAL" clId="{E7CFEF31-F78D-4AB2-82EA-48FEA1DAF329}" dt="2022-08-18T08:14:17.491" v="7044" actId="20577"/>
        <pc:sldMkLst>
          <pc:docMk/>
          <pc:sldMk cId="848503523" sldId="286"/>
        </pc:sldMkLst>
        <pc:spChg chg="mod">
          <ac:chgData name="Thomas Stensitzki" userId="75cafe6b-2f2a-469b-85c4-eec3b9c972ba" providerId="ADAL" clId="{E7CFEF31-F78D-4AB2-82EA-48FEA1DAF329}" dt="2022-08-18T08:14:17.491" v="7044" actId="20577"/>
          <ac:spMkLst>
            <pc:docMk/>
            <pc:sldMk cId="848503523" sldId="286"/>
            <ac:spMk id="3" creationId="{5A9BE1F8-07C8-4A22-93C8-5725DE760CD3}"/>
          </ac:spMkLst>
        </pc:spChg>
      </pc:sldChg>
      <pc:sldChg chg="modSp mod">
        <pc:chgData name="Thomas Stensitzki" userId="75cafe6b-2f2a-469b-85c4-eec3b9c972ba" providerId="ADAL" clId="{E7CFEF31-F78D-4AB2-82EA-48FEA1DAF329}" dt="2022-08-13T12:25:49.020" v="95" actId="20577"/>
        <pc:sldMkLst>
          <pc:docMk/>
          <pc:sldMk cId="512821701" sldId="298"/>
        </pc:sldMkLst>
        <pc:spChg chg="mod">
          <ac:chgData name="Thomas Stensitzki" userId="75cafe6b-2f2a-469b-85c4-eec3b9c972ba" providerId="ADAL" clId="{E7CFEF31-F78D-4AB2-82EA-48FEA1DAF329}" dt="2022-08-13T12:25:41.916" v="74" actId="20577"/>
          <ac:spMkLst>
            <pc:docMk/>
            <pc:sldMk cId="512821701" sldId="298"/>
            <ac:spMk id="8" creationId="{7753695D-B6FA-4781-8B90-054226157255}"/>
          </ac:spMkLst>
        </pc:spChg>
        <pc:spChg chg="mod">
          <ac:chgData name="Thomas Stensitzki" userId="75cafe6b-2f2a-469b-85c4-eec3b9c972ba" providerId="ADAL" clId="{E7CFEF31-F78D-4AB2-82EA-48FEA1DAF329}" dt="2022-08-13T12:25:49.020" v="95" actId="20577"/>
          <ac:spMkLst>
            <pc:docMk/>
            <pc:sldMk cId="512821701" sldId="298"/>
            <ac:spMk id="9" creationId="{7ACD5D95-6785-48AB-A08F-F511798021FE}"/>
          </ac:spMkLst>
        </pc:spChg>
      </pc:sldChg>
      <pc:sldChg chg="modSp mod modShow">
        <pc:chgData name="Thomas Stensitzki" userId="75cafe6b-2f2a-469b-85c4-eec3b9c972ba" providerId="ADAL" clId="{E7CFEF31-F78D-4AB2-82EA-48FEA1DAF329}" dt="2022-08-13T12:52:54.834" v="1360" actId="6549"/>
        <pc:sldMkLst>
          <pc:docMk/>
          <pc:sldMk cId="612878314" sldId="299"/>
        </pc:sldMkLst>
        <pc:spChg chg="mod">
          <ac:chgData name="Thomas Stensitzki" userId="75cafe6b-2f2a-469b-85c4-eec3b9c972ba" providerId="ADAL" clId="{E7CFEF31-F78D-4AB2-82EA-48FEA1DAF329}" dt="2022-08-13T12:52:54.834" v="1360" actId="6549"/>
          <ac:spMkLst>
            <pc:docMk/>
            <pc:sldMk cId="612878314" sldId="299"/>
            <ac:spMk id="8" creationId="{7753695D-B6FA-4781-8B90-054226157255}"/>
          </ac:spMkLst>
        </pc:spChg>
        <pc:spChg chg="mod">
          <ac:chgData name="Thomas Stensitzki" userId="75cafe6b-2f2a-469b-85c4-eec3b9c972ba" providerId="ADAL" clId="{E7CFEF31-F78D-4AB2-82EA-48FEA1DAF329}" dt="2022-08-13T12:26:29.377" v="158" actId="20577"/>
          <ac:spMkLst>
            <pc:docMk/>
            <pc:sldMk cId="612878314" sldId="299"/>
            <ac:spMk id="9" creationId="{7ACD5D95-6785-48AB-A08F-F511798021FE}"/>
          </ac:spMkLst>
        </pc:spChg>
      </pc:sldChg>
      <pc:sldChg chg="addSp modSp del mod">
        <pc:chgData name="Thomas Stensitzki" userId="75cafe6b-2f2a-469b-85c4-eec3b9c972ba" providerId="ADAL" clId="{E7CFEF31-F78D-4AB2-82EA-48FEA1DAF329}" dt="2022-08-13T12:24:06.500" v="53" actId="47"/>
        <pc:sldMkLst>
          <pc:docMk/>
          <pc:sldMk cId="254634099" sldId="300"/>
        </pc:sldMkLst>
        <pc:spChg chg="add mod ord">
          <ac:chgData name="Thomas Stensitzki" userId="75cafe6b-2f2a-469b-85c4-eec3b9c972ba" providerId="ADAL" clId="{E7CFEF31-F78D-4AB2-82EA-48FEA1DAF329}" dt="2022-08-13T12:23:41.066" v="41" actId="14100"/>
          <ac:spMkLst>
            <pc:docMk/>
            <pc:sldMk cId="254634099" sldId="300"/>
            <ac:spMk id="2" creationId="{A909D6B9-5D1D-1334-E19B-16654E3B8A9F}"/>
          </ac:spMkLst>
        </pc:spChg>
        <pc:spChg chg="mod">
          <ac:chgData name="Thomas Stensitzki" userId="75cafe6b-2f2a-469b-85c4-eec3b9c972ba" providerId="ADAL" clId="{E7CFEF31-F78D-4AB2-82EA-48FEA1DAF329}" dt="2022-08-13T12:23:44.758" v="48" actId="20577"/>
          <ac:spMkLst>
            <pc:docMk/>
            <pc:sldMk cId="254634099" sldId="300"/>
            <ac:spMk id="5" creationId="{D7A2D598-B3FE-4D80-9241-7F9C19D61446}"/>
          </ac:spMkLst>
        </pc:spChg>
        <pc:picChg chg="add mod">
          <ac:chgData name="Thomas Stensitzki" userId="75cafe6b-2f2a-469b-85c4-eec3b9c972ba" providerId="ADAL" clId="{E7CFEF31-F78D-4AB2-82EA-48FEA1DAF329}" dt="2022-08-13T12:22:37.578" v="32" actId="1076"/>
          <ac:picMkLst>
            <pc:docMk/>
            <pc:sldMk cId="254634099" sldId="300"/>
            <ac:picMk id="1026" creationId="{29602C08-83FC-01F2-084C-BE0D3A02B898}"/>
          </ac:picMkLst>
        </pc:picChg>
      </pc:sldChg>
      <pc:sldChg chg="addSp delSp modSp mod modClrScheme modShow chgLayout">
        <pc:chgData name="Thomas Stensitzki" userId="75cafe6b-2f2a-469b-85c4-eec3b9c972ba" providerId="ADAL" clId="{E7CFEF31-F78D-4AB2-82EA-48FEA1DAF329}" dt="2022-08-18T07:19:10.587" v="6933" actId="20577"/>
        <pc:sldMkLst>
          <pc:docMk/>
          <pc:sldMk cId="165395742" sldId="301"/>
        </pc:sldMkLst>
        <pc:spChg chg="add mod ord">
          <ac:chgData name="Thomas Stensitzki" userId="75cafe6b-2f2a-469b-85c4-eec3b9c972ba" providerId="ADAL" clId="{E7CFEF31-F78D-4AB2-82EA-48FEA1DAF329}" dt="2022-08-18T07:19:10.587" v="6933" actId="20577"/>
          <ac:spMkLst>
            <pc:docMk/>
            <pc:sldMk cId="165395742" sldId="301"/>
            <ac:spMk id="2" creationId="{12B048C9-F44C-C380-8C1A-E36BAEE20DD6}"/>
          </ac:spMkLst>
        </pc:spChg>
        <pc:spChg chg="add mod ord">
          <ac:chgData name="Thomas Stensitzki" userId="75cafe6b-2f2a-469b-85c4-eec3b9c972ba" providerId="ADAL" clId="{E7CFEF31-F78D-4AB2-82EA-48FEA1DAF329}" dt="2022-08-13T14:54:12.269" v="4155"/>
          <ac:spMkLst>
            <pc:docMk/>
            <pc:sldMk cId="165395742" sldId="301"/>
            <ac:spMk id="3" creationId="{31848483-1018-11C0-E76C-5FDB4C89F386}"/>
          </ac:spMkLst>
        </pc:spChg>
        <pc:spChg chg="mod ord">
          <ac:chgData name="Thomas Stensitzki" userId="75cafe6b-2f2a-469b-85c4-eec3b9c972ba" providerId="ADAL" clId="{E7CFEF31-F78D-4AB2-82EA-48FEA1DAF329}" dt="2022-08-13T14:53:06.519" v="4103" actId="700"/>
          <ac:spMkLst>
            <pc:docMk/>
            <pc:sldMk cId="165395742" sldId="301"/>
            <ac:spMk id="5" creationId="{EF33DA07-BDE5-4D8B-B332-D6D77536E093}"/>
          </ac:spMkLst>
        </pc:spChg>
        <pc:spChg chg="add del">
          <ac:chgData name="Thomas Stensitzki" userId="75cafe6b-2f2a-469b-85c4-eec3b9c972ba" providerId="ADAL" clId="{E7CFEF31-F78D-4AB2-82EA-48FEA1DAF329}" dt="2022-08-13T14:57:02.970" v="4239" actId="22"/>
          <ac:spMkLst>
            <pc:docMk/>
            <pc:sldMk cId="165395742" sldId="301"/>
            <ac:spMk id="6" creationId="{146A792B-EA8C-9CFB-D8B0-F75217650C70}"/>
          </ac:spMkLst>
        </pc:spChg>
      </pc:sldChg>
      <pc:sldChg chg="del">
        <pc:chgData name="Thomas Stensitzki" userId="75cafe6b-2f2a-469b-85c4-eec3b9c972ba" providerId="ADAL" clId="{E7CFEF31-F78D-4AB2-82EA-48FEA1DAF329}" dt="2022-08-13T14:55:27.984" v="4202" actId="2696"/>
        <pc:sldMkLst>
          <pc:docMk/>
          <pc:sldMk cId="925377618" sldId="302"/>
        </pc:sldMkLst>
      </pc:sldChg>
      <pc:sldChg chg="add ord">
        <pc:chgData name="Thomas Stensitzki" userId="75cafe6b-2f2a-469b-85c4-eec3b9c972ba" providerId="ADAL" clId="{E7CFEF31-F78D-4AB2-82EA-48FEA1DAF329}" dt="2022-08-13T12:23:56.987" v="51"/>
        <pc:sldMkLst>
          <pc:docMk/>
          <pc:sldMk cId="2153189406" sldId="303"/>
        </pc:sldMkLst>
      </pc:sldChg>
      <pc:sldChg chg="modSp new mod modAnim">
        <pc:chgData name="Thomas Stensitzki" userId="75cafe6b-2f2a-469b-85c4-eec3b9c972ba" providerId="ADAL" clId="{E7CFEF31-F78D-4AB2-82EA-48FEA1DAF329}" dt="2022-08-18T07:09:01.516" v="6873"/>
        <pc:sldMkLst>
          <pc:docMk/>
          <pc:sldMk cId="1210872167" sldId="304"/>
        </pc:sldMkLst>
        <pc:spChg chg="mod">
          <ac:chgData name="Thomas Stensitzki" userId="75cafe6b-2f2a-469b-85c4-eec3b9c972ba" providerId="ADAL" clId="{E7CFEF31-F78D-4AB2-82EA-48FEA1DAF329}" dt="2022-08-13T12:28:57.145" v="198" actId="20577"/>
          <ac:spMkLst>
            <pc:docMk/>
            <pc:sldMk cId="1210872167" sldId="304"/>
            <ac:spMk id="2" creationId="{36D4A3FA-2161-3607-6939-55D994306D0C}"/>
          </ac:spMkLst>
        </pc:spChg>
        <pc:spChg chg="mod">
          <ac:chgData name="Thomas Stensitzki" userId="75cafe6b-2f2a-469b-85c4-eec3b9c972ba" providerId="ADAL" clId="{E7CFEF31-F78D-4AB2-82EA-48FEA1DAF329}" dt="2022-08-13T14:04:46.855" v="2860" actId="20577"/>
          <ac:spMkLst>
            <pc:docMk/>
            <pc:sldMk cId="1210872167" sldId="304"/>
            <ac:spMk id="3" creationId="{ABCC6013-0369-92AA-2C7A-78E326E92880}"/>
          </ac:spMkLst>
        </pc:spChg>
      </pc:sldChg>
      <pc:sldChg chg="modSp new mod">
        <pc:chgData name="Thomas Stensitzki" userId="75cafe6b-2f2a-469b-85c4-eec3b9c972ba" providerId="ADAL" clId="{E7CFEF31-F78D-4AB2-82EA-48FEA1DAF329}" dt="2022-08-14T11:31:59.940" v="5307" actId="20577"/>
        <pc:sldMkLst>
          <pc:docMk/>
          <pc:sldMk cId="1286675129" sldId="305"/>
        </pc:sldMkLst>
        <pc:spChg chg="mod">
          <ac:chgData name="Thomas Stensitzki" userId="75cafe6b-2f2a-469b-85c4-eec3b9c972ba" providerId="ADAL" clId="{E7CFEF31-F78D-4AB2-82EA-48FEA1DAF329}" dt="2022-08-13T12:30:56.623" v="350" actId="20577"/>
          <ac:spMkLst>
            <pc:docMk/>
            <pc:sldMk cId="1286675129" sldId="305"/>
            <ac:spMk id="2" creationId="{687D95A5-39CB-FA76-0C40-14C7E1EF2FAD}"/>
          </ac:spMkLst>
        </pc:spChg>
        <pc:spChg chg="mod">
          <ac:chgData name="Thomas Stensitzki" userId="75cafe6b-2f2a-469b-85c4-eec3b9c972ba" providerId="ADAL" clId="{E7CFEF31-F78D-4AB2-82EA-48FEA1DAF329}" dt="2022-08-14T11:31:59.940" v="5307" actId="20577"/>
          <ac:spMkLst>
            <pc:docMk/>
            <pc:sldMk cId="1286675129" sldId="305"/>
            <ac:spMk id="3" creationId="{9F9E59A6-5B4D-8AD2-A7CF-D2E2AFF6E183}"/>
          </ac:spMkLst>
        </pc:spChg>
      </pc:sldChg>
      <pc:sldChg chg="modSp new mod modAnim">
        <pc:chgData name="Thomas Stensitzki" userId="75cafe6b-2f2a-469b-85c4-eec3b9c972ba" providerId="ADAL" clId="{E7CFEF31-F78D-4AB2-82EA-48FEA1DAF329}" dt="2022-08-18T07:09:57.071" v="6876"/>
        <pc:sldMkLst>
          <pc:docMk/>
          <pc:sldMk cId="876685722" sldId="306"/>
        </pc:sldMkLst>
        <pc:spChg chg="mod">
          <ac:chgData name="Thomas Stensitzki" userId="75cafe6b-2f2a-469b-85c4-eec3b9c972ba" providerId="ADAL" clId="{E7CFEF31-F78D-4AB2-82EA-48FEA1DAF329}" dt="2022-08-13T12:33:56.748" v="449" actId="20577"/>
          <ac:spMkLst>
            <pc:docMk/>
            <pc:sldMk cId="876685722" sldId="306"/>
            <ac:spMk id="2" creationId="{725032C9-DE06-DF3B-3E58-F7E279F1BDF6}"/>
          </ac:spMkLst>
        </pc:spChg>
        <pc:spChg chg="mod">
          <ac:chgData name="Thomas Stensitzki" userId="75cafe6b-2f2a-469b-85c4-eec3b9c972ba" providerId="ADAL" clId="{E7CFEF31-F78D-4AB2-82EA-48FEA1DAF329}" dt="2022-08-13T12:52:31.714" v="1358" actId="20577"/>
          <ac:spMkLst>
            <pc:docMk/>
            <pc:sldMk cId="876685722" sldId="306"/>
            <ac:spMk id="3" creationId="{DF98DDA7-75B3-3FB8-684B-022375BDEECA}"/>
          </ac:spMkLst>
        </pc:spChg>
      </pc:sldChg>
      <pc:sldChg chg="addSp modSp add mod modAnim">
        <pc:chgData name="Thomas Stensitzki" userId="75cafe6b-2f2a-469b-85c4-eec3b9c972ba" providerId="ADAL" clId="{E7CFEF31-F78D-4AB2-82EA-48FEA1DAF329}" dt="2022-08-18T16:19:26.812" v="7108" actId="1038"/>
        <pc:sldMkLst>
          <pc:docMk/>
          <pc:sldMk cId="4249625451" sldId="307"/>
        </pc:sldMkLst>
        <pc:spChg chg="mod">
          <ac:chgData name="Thomas Stensitzki" userId="75cafe6b-2f2a-469b-85c4-eec3b9c972ba" providerId="ADAL" clId="{E7CFEF31-F78D-4AB2-82EA-48FEA1DAF329}" dt="2022-08-13T12:46:02.278" v="1165" actId="20577"/>
          <ac:spMkLst>
            <pc:docMk/>
            <pc:sldMk cId="4249625451" sldId="307"/>
            <ac:spMk id="2" creationId="{725032C9-DE06-DF3B-3E58-F7E279F1BDF6}"/>
          </ac:spMkLst>
        </pc:spChg>
        <pc:spChg chg="mod">
          <ac:chgData name="Thomas Stensitzki" userId="75cafe6b-2f2a-469b-85c4-eec3b9c972ba" providerId="ADAL" clId="{E7CFEF31-F78D-4AB2-82EA-48FEA1DAF329}" dt="2022-08-18T16:19:20.890" v="7070" actId="20577"/>
          <ac:spMkLst>
            <pc:docMk/>
            <pc:sldMk cId="4249625451" sldId="307"/>
            <ac:spMk id="3" creationId="{DF98DDA7-75B3-3FB8-684B-022375BDEECA}"/>
          </ac:spMkLst>
        </pc:spChg>
        <pc:spChg chg="add mod">
          <ac:chgData name="Thomas Stensitzki" userId="75cafe6b-2f2a-469b-85c4-eec3b9c972ba" providerId="ADAL" clId="{E7CFEF31-F78D-4AB2-82EA-48FEA1DAF329}" dt="2022-08-18T16:19:26.812" v="7108" actId="1038"/>
          <ac:spMkLst>
            <pc:docMk/>
            <pc:sldMk cId="4249625451" sldId="307"/>
            <ac:spMk id="5" creationId="{811A6F96-260A-208C-7424-2C4F07617F69}"/>
          </ac:spMkLst>
        </pc:spChg>
        <pc:spChg chg="add mod modVis">
          <ac:chgData name="Thomas Stensitzki" userId="75cafe6b-2f2a-469b-85c4-eec3b9c972ba" providerId="ADAL" clId="{E7CFEF31-F78D-4AB2-82EA-48FEA1DAF329}" dt="2022-08-18T16:19:26.812" v="7108" actId="1038"/>
          <ac:spMkLst>
            <pc:docMk/>
            <pc:sldMk cId="4249625451" sldId="307"/>
            <ac:spMk id="6" creationId="{746F480D-DB43-89F7-30AB-E6FE26106E05}"/>
          </ac:spMkLst>
        </pc:spChg>
        <pc:spChg chg="add mod">
          <ac:chgData name="Thomas Stensitzki" userId="75cafe6b-2f2a-469b-85c4-eec3b9c972ba" providerId="ADAL" clId="{E7CFEF31-F78D-4AB2-82EA-48FEA1DAF329}" dt="2022-08-18T16:19:26.812" v="7108" actId="1038"/>
          <ac:spMkLst>
            <pc:docMk/>
            <pc:sldMk cId="4249625451" sldId="307"/>
            <ac:spMk id="7" creationId="{DD06D63A-611B-4CE4-6CEA-40528643BCAC}"/>
          </ac:spMkLst>
        </pc:spChg>
        <pc:grpChg chg="add mod replST">
          <ac:chgData name="Thomas Stensitzki" userId="75cafe6b-2f2a-469b-85c4-eec3b9c972ba" providerId="ADAL" clId="{E7CFEF31-F78D-4AB2-82EA-48FEA1DAF329}" dt="2022-08-18T16:19:26.812" v="7108" actId="1038"/>
          <ac:grpSpMkLst>
            <pc:docMk/>
            <pc:sldMk cId="4249625451" sldId="307"/>
            <ac:grpSpMk id="8" creationId="{03F00321-B26B-1692-029D-C7F4D36BD900}"/>
          </ac:grpSpMkLst>
        </pc:grpChg>
      </pc:sldChg>
      <pc:sldChg chg="modSp add mod modAnim">
        <pc:chgData name="Thomas Stensitzki" userId="75cafe6b-2f2a-469b-85c4-eec3b9c972ba" providerId="ADAL" clId="{E7CFEF31-F78D-4AB2-82EA-48FEA1DAF329}" dt="2022-08-18T07:11:02.163" v="6880"/>
        <pc:sldMkLst>
          <pc:docMk/>
          <pc:sldMk cId="3803198966" sldId="308"/>
        </pc:sldMkLst>
        <pc:spChg chg="mod">
          <ac:chgData name="Thomas Stensitzki" userId="75cafe6b-2f2a-469b-85c4-eec3b9c972ba" providerId="ADAL" clId="{E7CFEF31-F78D-4AB2-82EA-48FEA1DAF329}" dt="2022-08-13T12:46:11.055" v="1177" actId="20577"/>
          <ac:spMkLst>
            <pc:docMk/>
            <pc:sldMk cId="3803198966" sldId="308"/>
            <ac:spMk id="2" creationId="{725032C9-DE06-DF3B-3E58-F7E279F1BDF6}"/>
          </ac:spMkLst>
        </pc:spChg>
        <pc:spChg chg="mod">
          <ac:chgData name="Thomas Stensitzki" userId="75cafe6b-2f2a-469b-85c4-eec3b9c972ba" providerId="ADAL" clId="{E7CFEF31-F78D-4AB2-82EA-48FEA1DAF329}" dt="2022-08-13T13:36:45.920" v="2284" actId="113"/>
          <ac:spMkLst>
            <pc:docMk/>
            <pc:sldMk cId="3803198966" sldId="308"/>
            <ac:spMk id="3" creationId="{DF98DDA7-75B3-3FB8-684B-022375BDEECA}"/>
          </ac:spMkLst>
        </pc:spChg>
        <pc:spChg chg="mod">
          <ac:chgData name="Thomas Stensitzki" userId="75cafe6b-2f2a-469b-85c4-eec3b9c972ba" providerId="ADAL" clId="{E7CFEF31-F78D-4AB2-82EA-48FEA1DAF329}" dt="2022-08-13T12:47:00.907" v="1234" actId="20577"/>
          <ac:spMkLst>
            <pc:docMk/>
            <pc:sldMk cId="3803198966" sldId="308"/>
            <ac:spMk id="4" creationId="{FC259EB8-2A34-CE5F-72C3-3B0298E90FFA}"/>
          </ac:spMkLst>
        </pc:spChg>
      </pc:sldChg>
      <pc:sldChg chg="modSp add mod modAnim">
        <pc:chgData name="Thomas Stensitzki" userId="75cafe6b-2f2a-469b-85c4-eec3b9c972ba" providerId="ADAL" clId="{E7CFEF31-F78D-4AB2-82EA-48FEA1DAF329}" dt="2022-08-18T07:11:18.059" v="6882"/>
        <pc:sldMkLst>
          <pc:docMk/>
          <pc:sldMk cId="2684566918" sldId="309"/>
        </pc:sldMkLst>
        <pc:spChg chg="mod">
          <ac:chgData name="Thomas Stensitzki" userId="75cafe6b-2f2a-469b-85c4-eec3b9c972ba" providerId="ADAL" clId="{E7CFEF31-F78D-4AB2-82EA-48FEA1DAF329}" dt="2022-08-13T13:36:59.933" v="2285" actId="113"/>
          <ac:spMkLst>
            <pc:docMk/>
            <pc:sldMk cId="2684566918" sldId="309"/>
            <ac:spMk id="3" creationId="{DF98DDA7-75B3-3FB8-684B-022375BDEECA}"/>
          </ac:spMkLst>
        </pc:spChg>
      </pc:sldChg>
      <pc:sldChg chg="modSp add mod modAnim">
        <pc:chgData name="Thomas Stensitzki" userId="75cafe6b-2f2a-469b-85c4-eec3b9c972ba" providerId="ADAL" clId="{E7CFEF31-F78D-4AB2-82EA-48FEA1DAF329}" dt="2022-11-04T10:44:04.918" v="7113" actId="20577"/>
        <pc:sldMkLst>
          <pc:docMk/>
          <pc:sldMk cId="897376150" sldId="310"/>
        </pc:sldMkLst>
        <pc:spChg chg="mod">
          <ac:chgData name="Thomas Stensitzki" userId="75cafe6b-2f2a-469b-85c4-eec3b9c972ba" providerId="ADAL" clId="{E7CFEF31-F78D-4AB2-82EA-48FEA1DAF329}" dt="2022-08-13T13:35:51.449" v="2238" actId="20577"/>
          <ac:spMkLst>
            <pc:docMk/>
            <pc:sldMk cId="897376150" sldId="310"/>
            <ac:spMk id="2" creationId="{725032C9-DE06-DF3B-3E58-F7E279F1BDF6}"/>
          </ac:spMkLst>
        </pc:spChg>
        <pc:spChg chg="mod">
          <ac:chgData name="Thomas Stensitzki" userId="75cafe6b-2f2a-469b-85c4-eec3b9c972ba" providerId="ADAL" clId="{E7CFEF31-F78D-4AB2-82EA-48FEA1DAF329}" dt="2022-11-04T10:44:04.918" v="7113" actId="20577"/>
          <ac:spMkLst>
            <pc:docMk/>
            <pc:sldMk cId="897376150" sldId="310"/>
            <ac:spMk id="3" creationId="{DF98DDA7-75B3-3FB8-684B-022375BDEECA}"/>
          </ac:spMkLst>
        </pc:spChg>
      </pc:sldChg>
      <pc:sldChg chg="modSp add mod modAnim">
        <pc:chgData name="Thomas Stensitzki" userId="75cafe6b-2f2a-469b-85c4-eec3b9c972ba" providerId="ADAL" clId="{E7CFEF31-F78D-4AB2-82EA-48FEA1DAF329}" dt="2022-08-18T16:27:02.031" v="7109" actId="20577"/>
        <pc:sldMkLst>
          <pc:docMk/>
          <pc:sldMk cId="2857984056" sldId="311"/>
        </pc:sldMkLst>
        <pc:spChg chg="mod">
          <ac:chgData name="Thomas Stensitzki" userId="75cafe6b-2f2a-469b-85c4-eec3b9c972ba" providerId="ADAL" clId="{E7CFEF31-F78D-4AB2-82EA-48FEA1DAF329}" dt="2022-08-18T16:27:02.031" v="7109" actId="20577"/>
          <ac:spMkLst>
            <pc:docMk/>
            <pc:sldMk cId="2857984056" sldId="311"/>
            <ac:spMk id="3" creationId="{DF98DDA7-75B3-3FB8-684B-022375BDEECA}"/>
          </ac:spMkLst>
        </pc:spChg>
      </pc:sldChg>
      <pc:sldChg chg="modSp add mod modAnim">
        <pc:chgData name="Thomas Stensitzki" userId="75cafe6b-2f2a-469b-85c4-eec3b9c972ba" providerId="ADAL" clId="{E7CFEF31-F78D-4AB2-82EA-48FEA1DAF329}" dt="2022-08-18T07:13:55.901" v="6888"/>
        <pc:sldMkLst>
          <pc:docMk/>
          <pc:sldMk cId="3237385589" sldId="312"/>
        </pc:sldMkLst>
        <pc:spChg chg="mod">
          <ac:chgData name="Thomas Stensitzki" userId="75cafe6b-2f2a-469b-85c4-eec3b9c972ba" providerId="ADAL" clId="{E7CFEF31-F78D-4AB2-82EA-48FEA1DAF329}" dt="2022-08-13T14:09:21.827" v="3270" actId="20577"/>
          <ac:spMkLst>
            <pc:docMk/>
            <pc:sldMk cId="3237385589" sldId="312"/>
            <ac:spMk id="2" creationId="{725032C9-DE06-DF3B-3E58-F7E279F1BDF6}"/>
          </ac:spMkLst>
        </pc:spChg>
        <pc:spChg chg="mod">
          <ac:chgData name="Thomas Stensitzki" userId="75cafe6b-2f2a-469b-85c4-eec3b9c972ba" providerId="ADAL" clId="{E7CFEF31-F78D-4AB2-82EA-48FEA1DAF329}" dt="2022-08-13T14:32:29.619" v="3595" actId="20577"/>
          <ac:spMkLst>
            <pc:docMk/>
            <pc:sldMk cId="3237385589" sldId="312"/>
            <ac:spMk id="3" creationId="{DF98DDA7-75B3-3FB8-684B-022375BDEECA}"/>
          </ac:spMkLst>
        </pc:spChg>
      </pc:sldChg>
      <pc:sldChg chg="modSp add mod ord modAnim">
        <pc:chgData name="Thomas Stensitzki" userId="75cafe6b-2f2a-469b-85c4-eec3b9c972ba" providerId="ADAL" clId="{E7CFEF31-F78D-4AB2-82EA-48FEA1DAF329}" dt="2022-08-18T07:14:11.325" v="6890"/>
        <pc:sldMkLst>
          <pc:docMk/>
          <pc:sldMk cId="3486645026" sldId="313"/>
        </pc:sldMkLst>
        <pc:spChg chg="mod">
          <ac:chgData name="Thomas Stensitzki" userId="75cafe6b-2f2a-469b-85c4-eec3b9c972ba" providerId="ADAL" clId="{E7CFEF31-F78D-4AB2-82EA-48FEA1DAF329}" dt="2022-08-13T14:58:56.660" v="4303" actId="113"/>
          <ac:spMkLst>
            <pc:docMk/>
            <pc:sldMk cId="3486645026" sldId="313"/>
            <ac:spMk id="3" creationId="{DF98DDA7-75B3-3FB8-684B-022375BDEECA}"/>
          </ac:spMkLst>
        </pc:spChg>
        <pc:spChg chg="mod">
          <ac:chgData name="Thomas Stensitzki" userId="75cafe6b-2f2a-469b-85c4-eec3b9c972ba" providerId="ADAL" clId="{E7CFEF31-F78D-4AB2-82EA-48FEA1DAF329}" dt="2022-08-13T14:38:35.395" v="3604" actId="20577"/>
          <ac:spMkLst>
            <pc:docMk/>
            <pc:sldMk cId="3486645026" sldId="313"/>
            <ac:spMk id="4" creationId="{FC259EB8-2A34-CE5F-72C3-3B0298E90FFA}"/>
          </ac:spMkLst>
        </pc:spChg>
      </pc:sldChg>
      <pc:sldChg chg="modSp add mod modAnim">
        <pc:chgData name="Thomas Stensitzki" userId="75cafe6b-2f2a-469b-85c4-eec3b9c972ba" providerId="ADAL" clId="{E7CFEF31-F78D-4AB2-82EA-48FEA1DAF329}" dt="2022-08-18T07:14:21.451" v="6892"/>
        <pc:sldMkLst>
          <pc:docMk/>
          <pc:sldMk cId="4142284166" sldId="314"/>
        </pc:sldMkLst>
        <pc:spChg chg="mod">
          <ac:chgData name="Thomas Stensitzki" userId="75cafe6b-2f2a-469b-85c4-eec3b9c972ba" providerId="ADAL" clId="{E7CFEF31-F78D-4AB2-82EA-48FEA1DAF329}" dt="2022-08-13T14:56:35.909" v="4237" actId="20577"/>
          <ac:spMkLst>
            <pc:docMk/>
            <pc:sldMk cId="4142284166" sldId="314"/>
            <ac:spMk id="2" creationId="{725032C9-DE06-DF3B-3E58-F7E279F1BDF6}"/>
          </ac:spMkLst>
        </pc:spChg>
        <pc:spChg chg="mod">
          <ac:chgData name="Thomas Stensitzki" userId="75cafe6b-2f2a-469b-85c4-eec3b9c972ba" providerId="ADAL" clId="{E7CFEF31-F78D-4AB2-82EA-48FEA1DAF329}" dt="2022-08-13T15:00:06.138" v="4312" actId="113"/>
          <ac:spMkLst>
            <pc:docMk/>
            <pc:sldMk cId="4142284166" sldId="314"/>
            <ac:spMk id="3" creationId="{DF98DDA7-75B3-3FB8-684B-022375BDEECA}"/>
          </ac:spMkLst>
        </pc:spChg>
      </pc:sldChg>
      <pc:sldChg chg="modSp add mod">
        <pc:chgData name="Thomas Stensitzki" userId="75cafe6b-2f2a-469b-85c4-eec3b9c972ba" providerId="ADAL" clId="{E7CFEF31-F78D-4AB2-82EA-48FEA1DAF329}" dt="2022-08-13T14:57:52.898" v="4289" actId="6549"/>
        <pc:sldMkLst>
          <pc:docMk/>
          <pc:sldMk cId="1572236239" sldId="315"/>
        </pc:sldMkLst>
        <pc:spChg chg="mod">
          <ac:chgData name="Thomas Stensitzki" userId="75cafe6b-2f2a-469b-85c4-eec3b9c972ba" providerId="ADAL" clId="{E7CFEF31-F78D-4AB2-82EA-48FEA1DAF329}" dt="2022-08-13T14:57:52.898" v="4289" actId="6549"/>
          <ac:spMkLst>
            <pc:docMk/>
            <pc:sldMk cId="1572236239" sldId="315"/>
            <ac:spMk id="2" creationId="{12B048C9-F44C-C380-8C1A-E36BAEE20DD6}"/>
          </ac:spMkLst>
        </pc:spChg>
        <pc:spChg chg="mod">
          <ac:chgData name="Thomas Stensitzki" userId="75cafe6b-2f2a-469b-85c4-eec3b9c972ba" providerId="ADAL" clId="{E7CFEF31-F78D-4AB2-82EA-48FEA1DAF329}" dt="2022-08-13T14:57:10.124" v="4248" actId="6549"/>
          <ac:spMkLst>
            <pc:docMk/>
            <pc:sldMk cId="1572236239" sldId="315"/>
            <ac:spMk id="5" creationId="{EF33DA07-BDE5-4D8B-B332-D6D77536E093}"/>
          </ac:spMkLst>
        </pc:spChg>
      </pc:sldChg>
      <pc:sldChg chg="modSp new mod modAnim">
        <pc:chgData name="Thomas Stensitzki" userId="75cafe6b-2f2a-469b-85c4-eec3b9c972ba" providerId="ADAL" clId="{E7CFEF31-F78D-4AB2-82EA-48FEA1DAF329}" dt="2022-08-18T07:14:46.859" v="6896"/>
        <pc:sldMkLst>
          <pc:docMk/>
          <pc:sldMk cId="3945570708" sldId="316"/>
        </pc:sldMkLst>
        <pc:spChg chg="mod">
          <ac:chgData name="Thomas Stensitzki" userId="75cafe6b-2f2a-469b-85c4-eec3b9c972ba" providerId="ADAL" clId="{E7CFEF31-F78D-4AB2-82EA-48FEA1DAF329}" dt="2022-08-13T15:01:35.870" v="4357" actId="20577"/>
          <ac:spMkLst>
            <pc:docMk/>
            <pc:sldMk cId="3945570708" sldId="316"/>
            <ac:spMk id="2" creationId="{38B2298A-E31A-0392-955D-AE1EE91B289A}"/>
          </ac:spMkLst>
        </pc:spChg>
        <pc:spChg chg="mod">
          <ac:chgData name="Thomas Stensitzki" userId="75cafe6b-2f2a-469b-85c4-eec3b9c972ba" providerId="ADAL" clId="{E7CFEF31-F78D-4AB2-82EA-48FEA1DAF329}" dt="2022-08-14T11:23:07.721" v="5038" actId="20577"/>
          <ac:spMkLst>
            <pc:docMk/>
            <pc:sldMk cId="3945570708" sldId="316"/>
            <ac:spMk id="3" creationId="{49E3BE99-6E10-2A5A-CC20-F9A73F5D3592}"/>
          </ac:spMkLst>
        </pc:spChg>
        <pc:spChg chg="mod">
          <ac:chgData name="Thomas Stensitzki" userId="75cafe6b-2f2a-469b-85c4-eec3b9c972ba" providerId="ADAL" clId="{E7CFEF31-F78D-4AB2-82EA-48FEA1DAF329}" dt="2022-08-14T11:27:38.072" v="5097" actId="6549"/>
          <ac:spMkLst>
            <pc:docMk/>
            <pc:sldMk cId="3945570708" sldId="316"/>
            <ac:spMk id="4" creationId="{82785C45-0302-6BE1-7468-86FA5C6E3D7C}"/>
          </ac:spMkLst>
        </pc:spChg>
      </pc:sldChg>
      <pc:sldChg chg="modSp add mod modAnim">
        <pc:chgData name="Thomas Stensitzki" userId="75cafe6b-2f2a-469b-85c4-eec3b9c972ba" providerId="ADAL" clId="{E7CFEF31-F78D-4AB2-82EA-48FEA1DAF329}" dt="2022-08-18T07:16:12.354" v="6905"/>
        <pc:sldMkLst>
          <pc:docMk/>
          <pc:sldMk cId="3636321901" sldId="317"/>
        </pc:sldMkLst>
        <pc:spChg chg="mod">
          <ac:chgData name="Thomas Stensitzki" userId="75cafe6b-2f2a-469b-85c4-eec3b9c972ba" providerId="ADAL" clId="{E7CFEF31-F78D-4AB2-82EA-48FEA1DAF329}" dt="2022-08-14T11:42:41.580" v="5483" actId="6549"/>
          <ac:spMkLst>
            <pc:docMk/>
            <pc:sldMk cId="3636321901" sldId="317"/>
            <ac:spMk id="3" creationId="{49E3BE99-6E10-2A5A-CC20-F9A73F5D3592}"/>
          </ac:spMkLst>
        </pc:spChg>
        <pc:spChg chg="mod">
          <ac:chgData name="Thomas Stensitzki" userId="75cafe6b-2f2a-469b-85c4-eec3b9c972ba" providerId="ADAL" clId="{E7CFEF31-F78D-4AB2-82EA-48FEA1DAF329}" dt="2022-08-14T11:27:45.813" v="5106" actId="6549"/>
          <ac:spMkLst>
            <pc:docMk/>
            <pc:sldMk cId="3636321901" sldId="317"/>
            <ac:spMk id="4" creationId="{82785C45-0302-6BE1-7468-86FA5C6E3D7C}"/>
          </ac:spMkLst>
        </pc:spChg>
      </pc:sldChg>
      <pc:sldChg chg="modSp add mod ord modAnim">
        <pc:chgData name="Thomas Stensitzki" userId="75cafe6b-2f2a-469b-85c4-eec3b9c972ba" providerId="ADAL" clId="{E7CFEF31-F78D-4AB2-82EA-48FEA1DAF329}" dt="2022-08-18T07:14:36.302" v="6894"/>
        <pc:sldMkLst>
          <pc:docMk/>
          <pc:sldMk cId="1204233614" sldId="318"/>
        </pc:sldMkLst>
        <pc:spChg chg="mod">
          <ac:chgData name="Thomas Stensitzki" userId="75cafe6b-2f2a-469b-85c4-eec3b9c972ba" providerId="ADAL" clId="{E7CFEF31-F78D-4AB2-82EA-48FEA1DAF329}" dt="2022-08-14T11:29:14.223" v="5302" actId="20577"/>
          <ac:spMkLst>
            <pc:docMk/>
            <pc:sldMk cId="1204233614" sldId="318"/>
            <ac:spMk id="3" creationId="{49E3BE99-6E10-2A5A-CC20-F9A73F5D3592}"/>
          </ac:spMkLst>
        </pc:spChg>
        <pc:spChg chg="mod">
          <ac:chgData name="Thomas Stensitzki" userId="75cafe6b-2f2a-469b-85c4-eec3b9c972ba" providerId="ADAL" clId="{E7CFEF31-F78D-4AB2-82EA-48FEA1DAF329}" dt="2022-08-14T11:27:32.404" v="5088" actId="6549"/>
          <ac:spMkLst>
            <pc:docMk/>
            <pc:sldMk cId="1204233614" sldId="318"/>
            <ac:spMk id="4" creationId="{82785C45-0302-6BE1-7468-86FA5C6E3D7C}"/>
          </ac:spMkLst>
        </pc:spChg>
      </pc:sldChg>
      <pc:sldChg chg="modSp add del mod">
        <pc:chgData name="Thomas Stensitzki" userId="75cafe6b-2f2a-469b-85c4-eec3b9c972ba" providerId="ADAL" clId="{E7CFEF31-F78D-4AB2-82EA-48FEA1DAF329}" dt="2022-08-18T07:16:48.276" v="6909" actId="47"/>
        <pc:sldMkLst>
          <pc:docMk/>
          <pc:sldMk cId="2841415955" sldId="319"/>
        </pc:sldMkLst>
        <pc:spChg chg="mod">
          <ac:chgData name="Thomas Stensitzki" userId="75cafe6b-2f2a-469b-85c4-eec3b9c972ba" providerId="ADAL" clId="{E7CFEF31-F78D-4AB2-82EA-48FEA1DAF329}" dt="2022-08-14T11:33:10.131" v="5334" actId="20577"/>
          <ac:spMkLst>
            <pc:docMk/>
            <pc:sldMk cId="2841415955" sldId="319"/>
            <ac:spMk id="3" creationId="{49E3BE99-6E10-2A5A-CC20-F9A73F5D3592}"/>
          </ac:spMkLst>
        </pc:spChg>
        <pc:spChg chg="mod">
          <ac:chgData name="Thomas Stensitzki" userId="75cafe6b-2f2a-469b-85c4-eec3b9c972ba" providerId="ADAL" clId="{E7CFEF31-F78D-4AB2-82EA-48FEA1DAF329}" dt="2022-08-14T11:32:37.489" v="5309" actId="6549"/>
          <ac:spMkLst>
            <pc:docMk/>
            <pc:sldMk cId="2841415955" sldId="319"/>
            <ac:spMk id="4" creationId="{82785C45-0302-6BE1-7468-86FA5C6E3D7C}"/>
          </ac:spMkLst>
        </pc:spChg>
      </pc:sldChg>
      <pc:sldChg chg="modSp add mod ord modAnim">
        <pc:chgData name="Thomas Stensitzki" userId="75cafe6b-2f2a-469b-85c4-eec3b9c972ba" providerId="ADAL" clId="{E7CFEF31-F78D-4AB2-82EA-48FEA1DAF329}" dt="2022-08-18T07:16:23.169" v="6906"/>
        <pc:sldMkLst>
          <pc:docMk/>
          <pc:sldMk cId="273821020" sldId="320"/>
        </pc:sldMkLst>
        <pc:spChg chg="mod">
          <ac:chgData name="Thomas Stensitzki" userId="75cafe6b-2f2a-469b-85c4-eec3b9c972ba" providerId="ADAL" clId="{E7CFEF31-F78D-4AB2-82EA-48FEA1DAF329}" dt="2022-08-14T11:34:00.610" v="5346" actId="20577"/>
          <ac:spMkLst>
            <pc:docMk/>
            <pc:sldMk cId="273821020" sldId="320"/>
            <ac:spMk id="2" creationId="{38B2298A-E31A-0392-955D-AE1EE91B289A}"/>
          </ac:spMkLst>
        </pc:spChg>
        <pc:spChg chg="mod">
          <ac:chgData name="Thomas Stensitzki" userId="75cafe6b-2f2a-469b-85c4-eec3b9c972ba" providerId="ADAL" clId="{E7CFEF31-F78D-4AB2-82EA-48FEA1DAF329}" dt="2022-08-14T11:42:32.354" v="5471" actId="6549"/>
          <ac:spMkLst>
            <pc:docMk/>
            <pc:sldMk cId="273821020" sldId="320"/>
            <ac:spMk id="3" creationId="{49E3BE99-6E10-2A5A-CC20-F9A73F5D3592}"/>
          </ac:spMkLst>
        </pc:spChg>
      </pc:sldChg>
      <pc:sldChg chg="modSp add mod modAnim">
        <pc:chgData name="Thomas Stensitzki" userId="75cafe6b-2f2a-469b-85c4-eec3b9c972ba" providerId="ADAL" clId="{E7CFEF31-F78D-4AB2-82EA-48FEA1DAF329}" dt="2022-08-18T07:16:36.265" v="6908"/>
        <pc:sldMkLst>
          <pc:docMk/>
          <pc:sldMk cId="3594537515" sldId="321"/>
        </pc:sldMkLst>
        <pc:spChg chg="mod">
          <ac:chgData name="Thomas Stensitzki" userId="75cafe6b-2f2a-469b-85c4-eec3b9c972ba" providerId="ADAL" clId="{E7CFEF31-F78D-4AB2-82EA-48FEA1DAF329}" dt="2022-08-14T11:43:40.785" v="5498" actId="20577"/>
          <ac:spMkLst>
            <pc:docMk/>
            <pc:sldMk cId="3594537515" sldId="321"/>
            <ac:spMk id="2" creationId="{38B2298A-E31A-0392-955D-AE1EE91B289A}"/>
          </ac:spMkLst>
        </pc:spChg>
        <pc:spChg chg="mod">
          <ac:chgData name="Thomas Stensitzki" userId="75cafe6b-2f2a-469b-85c4-eec3b9c972ba" providerId="ADAL" clId="{E7CFEF31-F78D-4AB2-82EA-48FEA1DAF329}" dt="2022-08-14T11:49:02.550" v="5917" actId="113"/>
          <ac:spMkLst>
            <pc:docMk/>
            <pc:sldMk cId="3594537515" sldId="321"/>
            <ac:spMk id="3" creationId="{49E3BE99-6E10-2A5A-CC20-F9A73F5D3592}"/>
          </ac:spMkLst>
        </pc:spChg>
      </pc:sldChg>
      <pc:sldChg chg="addSp modSp new mod">
        <pc:chgData name="Thomas Stensitzki" userId="75cafe6b-2f2a-469b-85c4-eec3b9c972ba" providerId="ADAL" clId="{E7CFEF31-F78D-4AB2-82EA-48FEA1DAF329}" dt="2022-08-14T11:52:56.877" v="6022" actId="1440"/>
        <pc:sldMkLst>
          <pc:docMk/>
          <pc:sldMk cId="2449884509" sldId="322"/>
        </pc:sldMkLst>
        <pc:spChg chg="mod">
          <ac:chgData name="Thomas Stensitzki" userId="75cafe6b-2f2a-469b-85c4-eec3b9c972ba" providerId="ADAL" clId="{E7CFEF31-F78D-4AB2-82EA-48FEA1DAF329}" dt="2022-08-14T11:49:46.305" v="5953" actId="20577"/>
          <ac:spMkLst>
            <pc:docMk/>
            <pc:sldMk cId="2449884509" sldId="322"/>
            <ac:spMk id="2" creationId="{1BA9802E-6FC2-E999-C70D-058BA9E5B649}"/>
          </ac:spMkLst>
        </pc:spChg>
        <pc:spChg chg="mod">
          <ac:chgData name="Thomas Stensitzki" userId="75cafe6b-2f2a-469b-85c4-eec3b9c972ba" providerId="ADAL" clId="{E7CFEF31-F78D-4AB2-82EA-48FEA1DAF329}" dt="2022-08-14T11:51:01.219" v="6019" actId="14100"/>
          <ac:spMkLst>
            <pc:docMk/>
            <pc:sldMk cId="2449884509" sldId="322"/>
            <ac:spMk id="3" creationId="{C2FABDA2-4CCD-9A0F-2F17-FD5CC8C2BE52}"/>
          </ac:spMkLst>
        </pc:spChg>
        <pc:spChg chg="mod">
          <ac:chgData name="Thomas Stensitzki" userId="75cafe6b-2f2a-469b-85c4-eec3b9c972ba" providerId="ADAL" clId="{E7CFEF31-F78D-4AB2-82EA-48FEA1DAF329}" dt="2022-08-14T11:49:52.143" v="5964" actId="20577"/>
          <ac:spMkLst>
            <pc:docMk/>
            <pc:sldMk cId="2449884509" sldId="322"/>
            <ac:spMk id="4" creationId="{FCBF9BD0-D8B4-19AD-04F2-322CD6B14C48}"/>
          </ac:spMkLst>
        </pc:spChg>
        <pc:picChg chg="add mod">
          <ac:chgData name="Thomas Stensitzki" userId="75cafe6b-2f2a-469b-85c4-eec3b9c972ba" providerId="ADAL" clId="{E7CFEF31-F78D-4AB2-82EA-48FEA1DAF329}" dt="2022-08-14T11:52:56.877" v="6022" actId="1440"/>
          <ac:picMkLst>
            <pc:docMk/>
            <pc:sldMk cId="2449884509" sldId="322"/>
            <ac:picMk id="1026" creationId="{540423D6-3BED-2BEE-F861-4DAD16C8351B}"/>
          </ac:picMkLst>
        </pc:picChg>
      </pc:sldChg>
      <pc:sldChg chg="delSp modSp add mod modAnim">
        <pc:chgData name="Thomas Stensitzki" userId="75cafe6b-2f2a-469b-85c4-eec3b9c972ba" providerId="ADAL" clId="{E7CFEF31-F78D-4AB2-82EA-48FEA1DAF329}" dt="2022-08-18T07:20:12.684" v="6940"/>
        <pc:sldMkLst>
          <pc:docMk/>
          <pc:sldMk cId="97824799" sldId="323"/>
        </pc:sldMkLst>
        <pc:spChg chg="mod">
          <ac:chgData name="Thomas Stensitzki" userId="75cafe6b-2f2a-469b-85c4-eec3b9c972ba" providerId="ADAL" clId="{E7CFEF31-F78D-4AB2-82EA-48FEA1DAF329}" dt="2022-08-14T12:07:56.921" v="6871" actId="113"/>
          <ac:spMkLst>
            <pc:docMk/>
            <pc:sldMk cId="97824799" sldId="323"/>
            <ac:spMk id="3" creationId="{C2FABDA2-4CCD-9A0F-2F17-FD5CC8C2BE52}"/>
          </ac:spMkLst>
        </pc:spChg>
        <pc:picChg chg="del">
          <ac:chgData name="Thomas Stensitzki" userId="75cafe6b-2f2a-469b-85c4-eec3b9c972ba" providerId="ADAL" clId="{E7CFEF31-F78D-4AB2-82EA-48FEA1DAF329}" dt="2022-08-14T11:53:31.251" v="6026" actId="478"/>
          <ac:picMkLst>
            <pc:docMk/>
            <pc:sldMk cId="97824799" sldId="323"/>
            <ac:picMk id="1026" creationId="{540423D6-3BED-2BEE-F861-4DAD16C8351B}"/>
          </ac:picMkLst>
        </pc:picChg>
      </pc:sldChg>
      <pc:sldChg chg="new del">
        <pc:chgData name="Thomas Stensitzki" userId="75cafe6b-2f2a-469b-85c4-eec3b9c972ba" providerId="ADAL" clId="{E7CFEF31-F78D-4AB2-82EA-48FEA1DAF329}" dt="2022-08-14T11:53:25.887" v="6024" actId="680"/>
        <pc:sldMkLst>
          <pc:docMk/>
          <pc:sldMk cId="2361540319" sldId="323"/>
        </pc:sldMkLst>
      </pc:sldChg>
      <pc:sldChg chg="modSp new mod">
        <pc:chgData name="Thomas Stensitzki" userId="75cafe6b-2f2a-469b-85c4-eec3b9c972ba" providerId="ADAL" clId="{E7CFEF31-F78D-4AB2-82EA-48FEA1DAF329}" dt="2022-08-14T12:06:01.669" v="6759" actId="20577"/>
        <pc:sldMkLst>
          <pc:docMk/>
          <pc:sldMk cId="2658790144" sldId="324"/>
        </pc:sldMkLst>
        <pc:spChg chg="mod">
          <ac:chgData name="Thomas Stensitzki" userId="75cafe6b-2f2a-469b-85c4-eec3b9c972ba" providerId="ADAL" clId="{E7CFEF31-F78D-4AB2-82EA-48FEA1DAF329}" dt="2022-08-14T11:54:57.989" v="6126" actId="20577"/>
          <ac:spMkLst>
            <pc:docMk/>
            <pc:sldMk cId="2658790144" sldId="324"/>
            <ac:spMk id="2" creationId="{B082680C-8B9F-AF25-5540-A5A1842E27F5}"/>
          </ac:spMkLst>
        </pc:spChg>
        <pc:spChg chg="mod">
          <ac:chgData name="Thomas Stensitzki" userId="75cafe6b-2f2a-469b-85c4-eec3b9c972ba" providerId="ADAL" clId="{E7CFEF31-F78D-4AB2-82EA-48FEA1DAF329}" dt="2022-08-14T12:06:01.669" v="6759" actId="20577"/>
          <ac:spMkLst>
            <pc:docMk/>
            <pc:sldMk cId="2658790144" sldId="324"/>
            <ac:spMk id="3" creationId="{D7F152D5-D670-257F-0D75-E161D94B4D8F}"/>
          </ac:spMkLst>
        </pc:spChg>
      </pc:sldChg>
      <pc:sldChg chg="modSp add mod modAnim">
        <pc:chgData name="Thomas Stensitzki" userId="75cafe6b-2f2a-469b-85c4-eec3b9c972ba" providerId="ADAL" clId="{E7CFEF31-F78D-4AB2-82EA-48FEA1DAF329}" dt="2022-08-18T07:20:23.387" v="6942"/>
        <pc:sldMkLst>
          <pc:docMk/>
          <pc:sldMk cId="3576904232" sldId="325"/>
        </pc:sldMkLst>
        <pc:spChg chg="mod">
          <ac:chgData name="Thomas Stensitzki" userId="75cafe6b-2f2a-469b-85c4-eec3b9c972ba" providerId="ADAL" clId="{E7CFEF31-F78D-4AB2-82EA-48FEA1DAF329}" dt="2022-08-14T12:07:36.374" v="6868" actId="20577"/>
          <ac:spMkLst>
            <pc:docMk/>
            <pc:sldMk cId="3576904232" sldId="325"/>
            <ac:spMk id="3" creationId="{C2FABDA2-4CCD-9A0F-2F17-FD5CC8C2BE52}"/>
          </ac:spMkLst>
        </pc:spChg>
      </pc:sldChg>
      <pc:sldChg chg="addSp delSp modSp new mod modClrScheme chgLayout">
        <pc:chgData name="Thomas Stensitzki" userId="75cafe6b-2f2a-469b-85c4-eec3b9c972ba" providerId="ADAL" clId="{E7CFEF31-F78D-4AB2-82EA-48FEA1DAF329}" dt="2022-08-18T07:18:51.314" v="6915"/>
        <pc:sldMkLst>
          <pc:docMk/>
          <pc:sldMk cId="3611383028" sldId="326"/>
        </pc:sldMkLst>
        <pc:spChg chg="del mod ord">
          <ac:chgData name="Thomas Stensitzki" userId="75cafe6b-2f2a-469b-85c4-eec3b9c972ba" providerId="ADAL" clId="{E7CFEF31-F78D-4AB2-82EA-48FEA1DAF329}" dt="2022-08-18T07:17:22.504" v="6911" actId="700"/>
          <ac:spMkLst>
            <pc:docMk/>
            <pc:sldMk cId="3611383028" sldId="326"/>
            <ac:spMk id="2" creationId="{EDA715E4-F327-4783-2466-AE082F4A2E05}"/>
          </ac:spMkLst>
        </pc:spChg>
        <pc:spChg chg="del">
          <ac:chgData name="Thomas Stensitzki" userId="75cafe6b-2f2a-469b-85c4-eec3b9c972ba" providerId="ADAL" clId="{E7CFEF31-F78D-4AB2-82EA-48FEA1DAF329}" dt="2022-08-18T07:17:22.504" v="6911" actId="700"/>
          <ac:spMkLst>
            <pc:docMk/>
            <pc:sldMk cId="3611383028" sldId="326"/>
            <ac:spMk id="3" creationId="{44E2EAB8-F390-3493-8C0A-E00AA19636CC}"/>
          </ac:spMkLst>
        </pc:spChg>
        <pc:spChg chg="del">
          <ac:chgData name="Thomas Stensitzki" userId="75cafe6b-2f2a-469b-85c4-eec3b9c972ba" providerId="ADAL" clId="{E7CFEF31-F78D-4AB2-82EA-48FEA1DAF329}" dt="2022-08-18T07:17:22.504" v="6911" actId="700"/>
          <ac:spMkLst>
            <pc:docMk/>
            <pc:sldMk cId="3611383028" sldId="326"/>
            <ac:spMk id="4" creationId="{5BD4CA7A-385A-807C-43ED-3082BC888B79}"/>
          </ac:spMkLst>
        </pc:spChg>
        <pc:spChg chg="add del mod ord">
          <ac:chgData name="Thomas Stensitzki" userId="75cafe6b-2f2a-469b-85c4-eec3b9c972ba" providerId="ADAL" clId="{E7CFEF31-F78D-4AB2-82EA-48FEA1DAF329}" dt="2022-08-18T07:17:33.495" v="6912" actId="700"/>
          <ac:spMkLst>
            <pc:docMk/>
            <pc:sldMk cId="3611383028" sldId="326"/>
            <ac:spMk id="5" creationId="{7D03E707-9CE7-84EC-B706-2FF7276C922F}"/>
          </ac:spMkLst>
        </pc:spChg>
        <pc:spChg chg="add del mod ord">
          <ac:chgData name="Thomas Stensitzki" userId="75cafe6b-2f2a-469b-85c4-eec3b9c972ba" providerId="ADAL" clId="{E7CFEF31-F78D-4AB2-82EA-48FEA1DAF329}" dt="2022-08-18T07:18:49.557" v="6914" actId="700"/>
          <ac:spMkLst>
            <pc:docMk/>
            <pc:sldMk cId="3611383028" sldId="326"/>
            <ac:spMk id="6" creationId="{1C5D8CCD-75CC-DED8-AB7D-EFEF57F3A5B4}"/>
          </ac:spMkLst>
        </pc:spChg>
        <pc:spChg chg="add del mod ord">
          <ac:chgData name="Thomas Stensitzki" userId="75cafe6b-2f2a-469b-85c4-eec3b9c972ba" providerId="ADAL" clId="{E7CFEF31-F78D-4AB2-82EA-48FEA1DAF329}" dt="2022-08-18T07:18:49.557" v="6914" actId="700"/>
          <ac:spMkLst>
            <pc:docMk/>
            <pc:sldMk cId="3611383028" sldId="326"/>
            <ac:spMk id="7" creationId="{93C84544-8028-A833-5009-30E347072982}"/>
          </ac:spMkLst>
        </pc:spChg>
        <pc:spChg chg="add del mod ord">
          <ac:chgData name="Thomas Stensitzki" userId="75cafe6b-2f2a-469b-85c4-eec3b9c972ba" providerId="ADAL" clId="{E7CFEF31-F78D-4AB2-82EA-48FEA1DAF329}" dt="2022-08-18T07:18:49.557" v="6914" actId="700"/>
          <ac:spMkLst>
            <pc:docMk/>
            <pc:sldMk cId="3611383028" sldId="326"/>
            <ac:spMk id="8" creationId="{855973B3-DDD7-13B6-620F-5D690199CF6C}"/>
          </ac:spMkLst>
        </pc:spChg>
        <pc:spChg chg="add mod ord">
          <ac:chgData name="Thomas Stensitzki" userId="75cafe6b-2f2a-469b-85c4-eec3b9c972ba" providerId="ADAL" clId="{E7CFEF31-F78D-4AB2-82EA-48FEA1DAF329}" dt="2022-08-18T07:18:49.557" v="6914" actId="700"/>
          <ac:spMkLst>
            <pc:docMk/>
            <pc:sldMk cId="3611383028" sldId="326"/>
            <ac:spMk id="9" creationId="{23B24C39-7937-90BB-66C2-90D50BD3A6B8}"/>
          </ac:spMkLst>
        </pc:spChg>
        <pc:picChg chg="add mod">
          <ac:chgData name="Thomas Stensitzki" userId="75cafe6b-2f2a-469b-85c4-eec3b9c972ba" providerId="ADAL" clId="{E7CFEF31-F78D-4AB2-82EA-48FEA1DAF329}" dt="2022-08-18T07:18:51.314" v="6915"/>
          <ac:picMkLst>
            <pc:docMk/>
            <pc:sldMk cId="3611383028" sldId="326"/>
            <ac:picMk id="10" creationId="{436D1129-2AE2-6ED0-635C-0315F7E754E9}"/>
          </ac:picMkLst>
        </pc:picChg>
      </pc:sldChg>
      <pc:sldChg chg="add ord">
        <pc:chgData name="Thomas Stensitzki" userId="75cafe6b-2f2a-469b-85c4-eec3b9c972ba" providerId="ADAL" clId="{E7CFEF31-F78D-4AB2-82EA-48FEA1DAF329}" dt="2022-08-18T07:19:50.888" v="6938"/>
        <pc:sldMkLst>
          <pc:docMk/>
          <pc:sldMk cId="3415401340" sldId="327"/>
        </pc:sldMkLst>
      </pc:sldChg>
    </pc:docChg>
  </pc:docChgLst>
  <pc:docChgLst>
    <pc:chgData name="Thomas Stensitzki" userId="75cafe6b-2f2a-469b-85c4-eec3b9c972ba" providerId="ADAL" clId="{91123CD2-BE67-4BA4-9E99-19ADB6C7B987}"/>
    <pc:docChg chg="custSel modSld">
      <pc:chgData name="Thomas Stensitzki" userId="75cafe6b-2f2a-469b-85c4-eec3b9c972ba" providerId="ADAL" clId="{91123CD2-BE67-4BA4-9E99-19ADB6C7B987}" dt="2021-04-29T16:43:34.427" v="88" actId="20577"/>
      <pc:docMkLst>
        <pc:docMk/>
      </pc:docMkLst>
      <pc:sldChg chg="modSp mod">
        <pc:chgData name="Thomas Stensitzki" userId="75cafe6b-2f2a-469b-85c4-eec3b9c972ba" providerId="ADAL" clId="{91123CD2-BE67-4BA4-9E99-19ADB6C7B987}" dt="2021-04-29T06:51:15.752" v="9" actId="20577"/>
        <pc:sldMkLst>
          <pc:docMk/>
          <pc:sldMk cId="353304963" sldId="256"/>
        </pc:sldMkLst>
        <pc:spChg chg="mod">
          <ac:chgData name="Thomas Stensitzki" userId="75cafe6b-2f2a-469b-85c4-eec3b9c972ba" providerId="ADAL" clId="{91123CD2-BE67-4BA4-9E99-19ADB6C7B987}" dt="2021-04-29T06:51:15.752" v="9" actId="20577"/>
          <ac:spMkLst>
            <pc:docMk/>
            <pc:sldMk cId="353304963" sldId="256"/>
            <ac:spMk id="3" creationId="{00000000-0000-0000-0000-000000000000}"/>
          </ac:spMkLst>
        </pc:spChg>
      </pc:sldChg>
      <pc:sldChg chg="modSp mod modAnim">
        <pc:chgData name="Thomas Stensitzki" userId="75cafe6b-2f2a-469b-85c4-eec3b9c972ba" providerId="ADAL" clId="{91123CD2-BE67-4BA4-9E99-19ADB6C7B987}" dt="2021-04-29T16:43:34.427" v="88" actId="20577"/>
        <pc:sldMkLst>
          <pc:docMk/>
          <pc:sldMk cId="2726485231" sldId="284"/>
        </pc:sldMkLst>
        <pc:spChg chg="mod">
          <ac:chgData name="Thomas Stensitzki" userId="75cafe6b-2f2a-469b-85c4-eec3b9c972ba" providerId="ADAL" clId="{91123CD2-BE67-4BA4-9E99-19ADB6C7B987}" dt="2021-04-29T16:43:34.427" v="88" actId="20577"/>
          <ac:spMkLst>
            <pc:docMk/>
            <pc:sldMk cId="2726485231" sldId="284"/>
            <ac:spMk id="3" creationId="{852D7D7E-BA81-48A9-8091-7743702661A8}"/>
          </ac:spMkLst>
        </pc:spChg>
      </pc:sldChg>
      <pc:sldChg chg="mod modShow">
        <pc:chgData name="Thomas Stensitzki" userId="75cafe6b-2f2a-469b-85c4-eec3b9c972ba" providerId="ADAL" clId="{91123CD2-BE67-4BA4-9E99-19ADB6C7B987}" dt="2021-04-29T06:53:06.131" v="53" actId="729"/>
        <pc:sldMkLst>
          <pc:docMk/>
          <pc:sldMk cId="1572723851" sldId="285"/>
        </pc:sldMkLst>
      </pc:sldChg>
      <pc:sldChg chg="modSp mod">
        <pc:chgData name="Thomas Stensitzki" userId="75cafe6b-2f2a-469b-85c4-eec3b9c972ba" providerId="ADAL" clId="{91123CD2-BE67-4BA4-9E99-19ADB6C7B987}" dt="2021-04-29T06:52:38.134" v="52" actId="20577"/>
        <pc:sldMkLst>
          <pc:docMk/>
          <pc:sldMk cId="848503523" sldId="286"/>
        </pc:sldMkLst>
        <pc:spChg chg="mod">
          <ac:chgData name="Thomas Stensitzki" userId="75cafe6b-2f2a-469b-85c4-eec3b9c972ba" providerId="ADAL" clId="{91123CD2-BE67-4BA4-9E99-19ADB6C7B987}" dt="2021-04-29T06:51:34.996" v="26" actId="20577"/>
          <ac:spMkLst>
            <pc:docMk/>
            <pc:sldMk cId="848503523" sldId="286"/>
            <ac:spMk id="2" creationId="{65E62FD1-8696-4A34-B061-3373BFCBD06C}"/>
          </ac:spMkLst>
        </pc:spChg>
        <pc:spChg chg="mod">
          <ac:chgData name="Thomas Stensitzki" userId="75cafe6b-2f2a-469b-85c4-eec3b9c972ba" providerId="ADAL" clId="{91123CD2-BE67-4BA4-9E99-19ADB6C7B987}" dt="2021-04-29T06:52:38.134" v="52" actId="20577"/>
          <ac:spMkLst>
            <pc:docMk/>
            <pc:sldMk cId="848503523" sldId="286"/>
            <ac:spMk id="3" creationId="{5A9BE1F8-07C8-4A22-93C8-5725DE760CD3}"/>
          </ac:spMkLst>
        </pc:spChg>
      </pc:sldChg>
    </pc:docChg>
  </pc:docChgLst>
  <pc:docChgLst>
    <pc:chgData name="Thomas Stensitzki" userId="75cafe6b-2f2a-469b-85c4-eec3b9c972ba" providerId="ADAL" clId="{D6558802-9FD8-4B9D-BD9A-1AC8EA99CA7F}"/>
    <pc:docChg chg="undo custSel addSld delSld modSld sldOrd addSection delSection modSection">
      <pc:chgData name="Thomas Stensitzki" userId="75cafe6b-2f2a-469b-85c4-eec3b9c972ba" providerId="ADAL" clId="{D6558802-9FD8-4B9D-BD9A-1AC8EA99CA7F}" dt="2019-10-27T10:37:51.155" v="1247" actId="6549"/>
      <pc:docMkLst>
        <pc:docMk/>
      </pc:docMkLst>
      <pc:sldChg chg="modTransition">
        <pc:chgData name="Thomas Stensitzki" userId="75cafe6b-2f2a-469b-85c4-eec3b9c972ba" providerId="ADAL" clId="{D6558802-9FD8-4B9D-BD9A-1AC8EA99CA7F}" dt="2019-10-27T10:01:22.512" v="154"/>
        <pc:sldMkLst>
          <pc:docMk/>
          <pc:sldMk cId="353304963" sldId="256"/>
        </pc:sldMkLst>
      </pc:sldChg>
      <pc:sldChg chg="addSp modSp ord modTransition">
        <pc:chgData name="Thomas Stensitzki" userId="75cafe6b-2f2a-469b-85c4-eec3b9c972ba" providerId="ADAL" clId="{D6558802-9FD8-4B9D-BD9A-1AC8EA99CA7F}" dt="2019-10-27T10:01:22.512" v="154"/>
        <pc:sldMkLst>
          <pc:docMk/>
          <pc:sldMk cId="3986585176" sldId="258"/>
        </pc:sldMkLst>
        <pc:spChg chg="mod">
          <ac:chgData name="Thomas Stensitzki" userId="75cafe6b-2f2a-469b-85c4-eec3b9c972ba" providerId="ADAL" clId="{D6558802-9FD8-4B9D-BD9A-1AC8EA99CA7F}" dt="2019-10-19T08:01:10.113" v="6" actId="20577"/>
          <ac:spMkLst>
            <pc:docMk/>
            <pc:sldMk cId="3986585176" sldId="258"/>
            <ac:spMk id="3" creationId="{00000000-0000-0000-0000-000000000000}"/>
          </ac:spMkLst>
        </pc:spChg>
        <pc:picChg chg="add mod">
          <ac:chgData name="Thomas Stensitzki" userId="75cafe6b-2f2a-469b-85c4-eec3b9c972ba" providerId="ADAL" clId="{D6558802-9FD8-4B9D-BD9A-1AC8EA99CA7F}" dt="2019-10-19T08:01:45.815" v="24" actId="1036"/>
          <ac:picMkLst>
            <pc:docMk/>
            <pc:sldMk cId="3986585176" sldId="258"/>
            <ac:picMk id="8" creationId="{5631CE2B-83FC-462E-8E5E-3D43927CE85F}"/>
          </ac:picMkLst>
        </pc:picChg>
      </pc:sldChg>
      <pc:sldChg chg="modSp add del ord modTransition">
        <pc:chgData name="Thomas Stensitzki" userId="75cafe6b-2f2a-469b-85c4-eec3b9c972ba" providerId="ADAL" clId="{D6558802-9FD8-4B9D-BD9A-1AC8EA99CA7F}" dt="2019-10-27T10:01:22.512" v="154"/>
        <pc:sldMkLst>
          <pc:docMk/>
          <pc:sldMk cId="577492687" sldId="259"/>
        </pc:sldMkLst>
        <pc:spChg chg="mod">
          <ac:chgData name="Thomas Stensitzki" userId="75cafe6b-2f2a-469b-85c4-eec3b9c972ba" providerId="ADAL" clId="{D6558802-9FD8-4B9D-BD9A-1AC8EA99CA7F}" dt="2019-10-19T08:02:00.929" v="25"/>
          <ac:spMkLst>
            <pc:docMk/>
            <pc:sldMk cId="577492687" sldId="259"/>
            <ac:spMk id="5" creationId="{8DFF3C50-4326-4090-9563-39166FAE160D}"/>
          </ac:spMkLst>
        </pc:spChg>
        <pc:spChg chg="mod">
          <ac:chgData name="Thomas Stensitzki" userId="75cafe6b-2f2a-469b-85c4-eec3b9c972ba" providerId="ADAL" clId="{D6558802-9FD8-4B9D-BD9A-1AC8EA99CA7F}" dt="2019-10-27T10:00:28.215" v="150" actId="20577"/>
          <ac:spMkLst>
            <pc:docMk/>
            <pc:sldMk cId="577492687" sldId="259"/>
            <ac:spMk id="6" creationId="{9D5FCE5E-BE6E-4AAA-BFE2-CADDE02D473C}"/>
          </ac:spMkLst>
        </pc:sp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322716105" sldId="260"/>
        </pc:sldMkLst>
      </pc:sldChg>
      <pc:sldChg chg="delSp mod modTransition modShow">
        <pc:chgData name="Thomas Stensitzki" userId="75cafe6b-2f2a-469b-85c4-eec3b9c972ba" providerId="ADAL" clId="{D6558802-9FD8-4B9D-BD9A-1AC8EA99CA7F}" dt="2019-10-27T10:01:22.512" v="154"/>
        <pc:sldMkLst>
          <pc:docMk/>
          <pc:sldMk cId="28132323" sldId="274"/>
        </pc:sldMkLst>
        <pc:picChg chg="del">
          <ac:chgData name="Thomas Stensitzki" userId="75cafe6b-2f2a-469b-85c4-eec3b9c972ba" providerId="ADAL" clId="{D6558802-9FD8-4B9D-BD9A-1AC8EA99CA7F}" dt="2019-10-19T08:00:25.473" v="1" actId="478"/>
          <ac:picMkLst>
            <pc:docMk/>
            <pc:sldMk cId="28132323" sldId="274"/>
            <ac:picMk id="5" creationId="{126BC707-0610-47CC-A6BE-C945356FD3D8}"/>
          </ac:picMkLst>
        </pc:picChg>
      </pc:sldChg>
      <pc:sldChg chg="del">
        <pc:chgData name="Thomas Stensitzki" userId="75cafe6b-2f2a-469b-85c4-eec3b9c972ba" providerId="ADAL" clId="{D6558802-9FD8-4B9D-BD9A-1AC8EA99CA7F}" dt="2019-10-19T08:00:36.595" v="2" actId="2696"/>
        <pc:sldMkLst>
          <pc:docMk/>
          <pc:sldMk cId="1868214746" sldId="275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934596246" sldId="276"/>
        </pc:sldMkLst>
      </pc:sldChg>
      <pc:sldChg chg="modSp modTransition">
        <pc:chgData name="Thomas Stensitzki" userId="75cafe6b-2f2a-469b-85c4-eec3b9c972ba" providerId="ADAL" clId="{D6558802-9FD8-4B9D-BD9A-1AC8EA99CA7F}" dt="2019-10-27T10:14:52.775" v="425" actId="20577"/>
        <pc:sldMkLst>
          <pc:docMk/>
          <pc:sldMk cId="2855165129" sldId="277"/>
        </pc:sldMkLst>
        <pc:spChg chg="mod">
          <ac:chgData name="Thomas Stensitzki" userId="75cafe6b-2f2a-469b-85c4-eec3b9c972ba" providerId="ADAL" clId="{D6558802-9FD8-4B9D-BD9A-1AC8EA99CA7F}" dt="2019-10-27T10:14:52.775" v="425" actId="20577"/>
          <ac:spMkLst>
            <pc:docMk/>
            <pc:sldMk cId="2855165129" sldId="277"/>
            <ac:spMk id="2" creationId="{00000000-0000-0000-0000-000000000000}"/>
          </ac:spMkLst>
        </pc:spChg>
        <pc:picChg chg="mod">
          <ac:chgData name="Thomas Stensitzki" userId="75cafe6b-2f2a-469b-85c4-eec3b9c972ba" providerId="ADAL" clId="{D6558802-9FD8-4B9D-BD9A-1AC8EA99CA7F}" dt="2019-10-27T10:14:45.452" v="420"/>
          <ac:picMkLst>
            <pc:docMk/>
            <pc:sldMk cId="2855165129" sldId="277"/>
            <ac:picMk id="11" creationId="{00000000-0000-0000-0000-000000000000}"/>
          </ac:picMkLst>
        </pc:picChg>
      </pc:sldChg>
      <pc:sldChg chg="del">
        <pc:chgData name="Thomas Stensitzki" userId="75cafe6b-2f2a-469b-85c4-eec3b9c972ba" providerId="ADAL" clId="{D6558802-9FD8-4B9D-BD9A-1AC8EA99CA7F}" dt="2019-10-19T08:02:39.495" v="52" actId="47"/>
        <pc:sldMkLst>
          <pc:docMk/>
          <pc:sldMk cId="1033304354" sldId="278"/>
        </pc:sldMkLst>
      </pc:sldChg>
      <pc:sldChg chg="addSp delSp modSp add modTransition modAnim">
        <pc:chgData name="Thomas Stensitzki" userId="75cafe6b-2f2a-469b-85c4-eec3b9c972ba" providerId="ADAL" clId="{D6558802-9FD8-4B9D-BD9A-1AC8EA99CA7F}" dt="2019-10-27T10:37:51.155" v="1247" actId="6549"/>
        <pc:sldMkLst>
          <pc:docMk/>
          <pc:sldMk cId="2116996515" sldId="278"/>
        </pc:sldMkLst>
        <pc:spChg chg="add del mod">
          <ac:chgData name="Thomas Stensitzki" userId="75cafe6b-2f2a-469b-85c4-eec3b9c972ba" providerId="ADAL" clId="{D6558802-9FD8-4B9D-BD9A-1AC8EA99CA7F}" dt="2019-10-27T10:34:07.161" v="1168" actId="767"/>
          <ac:spMkLst>
            <pc:docMk/>
            <pc:sldMk cId="2116996515" sldId="278"/>
            <ac:spMk id="2" creationId="{5B61F719-C611-46BD-935C-736C5BA5DFA7}"/>
          </ac:spMkLst>
        </pc:spChg>
        <pc:spChg chg="del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2" creationId="{CC65CFB8-9BE8-4A46-ACF6-0AE38A730DB2}"/>
          </ac:spMkLst>
        </pc:spChg>
        <pc:spChg chg="add mod">
          <ac:chgData name="Thomas Stensitzki" userId="75cafe6b-2f2a-469b-85c4-eec3b9c972ba" providerId="ADAL" clId="{D6558802-9FD8-4B9D-BD9A-1AC8EA99CA7F}" dt="2019-10-27T10:37:51.155" v="1247" actId="6549"/>
          <ac:spMkLst>
            <pc:docMk/>
            <pc:sldMk cId="2116996515" sldId="278"/>
            <ac:spMk id="3" creationId="{39E4D204-8D17-4FFE-BDD3-1563F2E75315}"/>
          </ac:spMkLst>
        </pc:spChg>
        <pc:spChg chg="del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3" creationId="{7CC669D8-2088-4EDE-AC66-D8F092719FA3}"/>
          </ac:spMkLst>
        </pc:spChg>
        <pc:spChg chg="add mod">
          <ac:chgData name="Thomas Stensitzki" userId="75cafe6b-2f2a-469b-85c4-eec3b9c972ba" providerId="ADAL" clId="{D6558802-9FD8-4B9D-BD9A-1AC8EA99CA7F}" dt="2019-10-19T08:02:55.543" v="55" actId="27636"/>
          <ac:spMkLst>
            <pc:docMk/>
            <pc:sldMk cId="2116996515" sldId="278"/>
            <ac:spMk id="4" creationId="{44D18106-10B8-4369-8831-215AC4DFCE51}"/>
          </ac:spMkLst>
        </pc:spChg>
        <pc:spChg chg="add mod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5" creationId="{B27B1AC8-C754-4125-A6B6-50E1270A9279}"/>
          </ac:spMkLst>
        </pc:spChg>
        <pc:spChg chg="add mod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6" creationId="{2A0D12C0-FAC2-4E0B-8157-A3363555BFF4}"/>
          </ac:spMkLst>
        </pc:spChg>
        <pc:grpChg chg="add mod">
          <ac:chgData name="Thomas Stensitzki" userId="75cafe6b-2f2a-469b-85c4-eec3b9c972ba" providerId="ADAL" clId="{D6558802-9FD8-4B9D-BD9A-1AC8EA99CA7F}" dt="2019-10-27T10:37:21.125" v="1243" actId="164"/>
          <ac:grpSpMkLst>
            <pc:docMk/>
            <pc:sldMk cId="2116996515" sldId="278"/>
            <ac:grpSpMk id="8" creationId="{3792915B-1576-4720-BD73-706A9916B599}"/>
          </ac:grpSpMkLst>
        </pc:grpChg>
        <pc:picChg chg="add mod">
          <ac:chgData name="Thomas Stensitzki" userId="75cafe6b-2f2a-469b-85c4-eec3b9c972ba" providerId="ADAL" clId="{D6558802-9FD8-4B9D-BD9A-1AC8EA99CA7F}" dt="2019-10-27T10:37:21.125" v="1243" actId="164"/>
          <ac:picMkLst>
            <pc:docMk/>
            <pc:sldMk cId="2116996515" sldId="278"/>
            <ac:picMk id="7" creationId="{F2F887E5-81B5-4F95-99A1-442296B330DE}"/>
          </ac:picMkLst>
        </pc:pic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150042010" sldId="279"/>
        </pc:sldMkLst>
      </pc:sldChg>
      <pc:sldChg chg="addSp delSp modSp add modTransition modAnim">
        <pc:chgData name="Thomas Stensitzki" userId="75cafe6b-2f2a-469b-85c4-eec3b9c972ba" providerId="ADAL" clId="{D6558802-9FD8-4B9D-BD9A-1AC8EA99CA7F}" dt="2019-10-27T10:04:20.303" v="199" actId="20577"/>
        <pc:sldMkLst>
          <pc:docMk/>
          <pc:sldMk cId="3916536378" sldId="279"/>
        </pc:sldMkLst>
        <pc:spChg chg="del mod">
          <ac:chgData name="Thomas Stensitzki" userId="75cafe6b-2f2a-469b-85c4-eec3b9c972ba" providerId="ADAL" clId="{D6558802-9FD8-4B9D-BD9A-1AC8EA99CA7F}" dt="2019-10-27T10:00:46.018" v="153"/>
          <ac:spMkLst>
            <pc:docMk/>
            <pc:sldMk cId="3916536378" sldId="279"/>
            <ac:spMk id="2" creationId="{16AB3D00-EB0F-4C03-A1F5-DB7440670099}"/>
          </ac:spMkLst>
        </pc:spChg>
        <pc:spChg chg="del">
          <ac:chgData name="Thomas Stensitzki" userId="75cafe6b-2f2a-469b-85c4-eec3b9c972ba" providerId="ADAL" clId="{D6558802-9FD8-4B9D-BD9A-1AC8EA99CA7F}" dt="2019-10-27T10:00:46.018" v="153"/>
          <ac:spMkLst>
            <pc:docMk/>
            <pc:sldMk cId="3916536378" sldId="279"/>
            <ac:spMk id="3" creationId="{74E9A4D4-0A07-4EDF-AD32-6E7F886CA8B5}"/>
          </ac:spMkLst>
        </pc:spChg>
        <pc:spChg chg="del">
          <ac:chgData name="Thomas Stensitzki" userId="75cafe6b-2f2a-469b-85c4-eec3b9c972ba" providerId="ADAL" clId="{D6558802-9FD8-4B9D-BD9A-1AC8EA99CA7F}" dt="2019-10-27T10:00:46.018" v="153"/>
          <ac:spMkLst>
            <pc:docMk/>
            <pc:sldMk cId="3916536378" sldId="279"/>
            <ac:spMk id="4" creationId="{AF491120-5099-4843-8CC6-9339BF296D4B}"/>
          </ac:spMkLst>
        </pc:spChg>
        <pc:spChg chg="add mod">
          <ac:chgData name="Thomas Stensitzki" userId="75cafe6b-2f2a-469b-85c4-eec3b9c972ba" providerId="ADAL" clId="{D6558802-9FD8-4B9D-BD9A-1AC8EA99CA7F}" dt="2019-10-27T10:03:10.825" v="167" actId="208"/>
          <ac:spMkLst>
            <pc:docMk/>
            <pc:sldMk cId="3916536378" sldId="279"/>
            <ac:spMk id="9" creationId="{6D23342B-E4E3-4A82-9C16-8197A2F7A07E}"/>
          </ac:spMkLst>
        </pc:spChg>
        <pc:spChg chg="add mod">
          <ac:chgData name="Thomas Stensitzki" userId="75cafe6b-2f2a-469b-85c4-eec3b9c972ba" providerId="ADAL" clId="{D6558802-9FD8-4B9D-BD9A-1AC8EA99CA7F}" dt="2019-10-27T10:03:15.930" v="168" actId="208"/>
          <ac:spMkLst>
            <pc:docMk/>
            <pc:sldMk cId="3916536378" sldId="279"/>
            <ac:spMk id="10" creationId="{8F0E3211-7DAD-4539-884E-F35DF647D92D}"/>
          </ac:spMkLst>
        </pc:spChg>
        <pc:spChg chg="add">
          <ac:chgData name="Thomas Stensitzki" userId="75cafe6b-2f2a-469b-85c4-eec3b9c972ba" providerId="ADAL" clId="{D6558802-9FD8-4B9D-BD9A-1AC8EA99CA7F}" dt="2019-10-27T10:01:41.919" v="155"/>
          <ac:spMkLst>
            <pc:docMk/>
            <pc:sldMk cId="3916536378" sldId="279"/>
            <ac:spMk id="13" creationId="{3F358211-4282-42DA-87F2-D40B8014D029}"/>
          </ac:spMkLst>
        </pc:spChg>
        <pc:spChg chg="add mod">
          <ac:chgData name="Thomas Stensitzki" userId="75cafe6b-2f2a-469b-85c4-eec3b9c972ba" providerId="ADAL" clId="{D6558802-9FD8-4B9D-BD9A-1AC8EA99CA7F}" dt="2019-10-27T10:04:20.303" v="199" actId="20577"/>
          <ac:spMkLst>
            <pc:docMk/>
            <pc:sldMk cId="3916536378" sldId="279"/>
            <ac:spMk id="14" creationId="{00A03A00-96F4-4415-8A80-E6C31B62B1D3}"/>
          </ac:spMkLst>
        </pc:spChg>
        <pc:grpChg chg="add">
          <ac:chgData name="Thomas Stensitzki" userId="75cafe6b-2f2a-469b-85c4-eec3b9c972ba" providerId="ADAL" clId="{D6558802-9FD8-4B9D-BD9A-1AC8EA99CA7F}" dt="2019-10-27T10:01:41.919" v="155"/>
          <ac:grpSpMkLst>
            <pc:docMk/>
            <pc:sldMk cId="3916536378" sldId="279"/>
            <ac:grpSpMk id="6" creationId="{58A56F10-016A-4A49-8928-CA2397D35C5C}"/>
          </ac:grpSpMkLst>
        </pc:grpChg>
        <pc:graphicFrameChg chg="add mod">
          <ac:chgData name="Thomas Stensitzki" userId="75cafe6b-2f2a-469b-85c4-eec3b9c972ba" providerId="ADAL" clId="{D6558802-9FD8-4B9D-BD9A-1AC8EA99CA7F}" dt="2019-10-27T10:03:56.791" v="174" actId="208"/>
          <ac:graphicFrameMkLst>
            <pc:docMk/>
            <pc:sldMk cId="3916536378" sldId="279"/>
            <ac:graphicFrameMk id="5" creationId="{CB7F2F1E-8491-49E8-A797-E5FAE0608DAF}"/>
          </ac:graphicFrameMkLst>
        </pc:graphicFrameChg>
        <pc:picChg chg="add">
          <ac:chgData name="Thomas Stensitzki" userId="75cafe6b-2f2a-469b-85c4-eec3b9c972ba" providerId="ADAL" clId="{D6558802-9FD8-4B9D-BD9A-1AC8EA99CA7F}" dt="2019-10-27T10:01:41.919" v="155"/>
          <ac:picMkLst>
            <pc:docMk/>
            <pc:sldMk cId="3916536378" sldId="279"/>
            <ac:picMk id="11" creationId="{6D3CE15C-9C6F-4C32-AF12-EBD9BB1DA1FA}"/>
          </ac:picMkLst>
        </pc:picChg>
        <pc:picChg chg="add">
          <ac:chgData name="Thomas Stensitzki" userId="75cafe6b-2f2a-469b-85c4-eec3b9c972ba" providerId="ADAL" clId="{D6558802-9FD8-4B9D-BD9A-1AC8EA99CA7F}" dt="2019-10-27T10:01:41.919" v="155"/>
          <ac:picMkLst>
            <pc:docMk/>
            <pc:sldMk cId="3916536378" sldId="279"/>
            <ac:picMk id="12" creationId="{D1139574-F5A7-41C8-87B5-3A767316CF90}"/>
          </ac:picMkLst>
        </pc:picChg>
      </pc:sldChg>
      <pc:sldChg chg="addSp modSp add ord modAnim">
        <pc:chgData name="Thomas Stensitzki" userId="75cafe6b-2f2a-469b-85c4-eec3b9c972ba" providerId="ADAL" clId="{D6558802-9FD8-4B9D-BD9A-1AC8EA99CA7F}" dt="2019-10-27T10:26:20.397" v="652" actId="5793"/>
        <pc:sldMkLst>
          <pc:docMk/>
          <pc:sldMk cId="234142031" sldId="280"/>
        </pc:sldMkLst>
        <pc:spChg chg="add mod">
          <ac:chgData name="Thomas Stensitzki" userId="75cafe6b-2f2a-469b-85c4-eec3b9c972ba" providerId="ADAL" clId="{D6558802-9FD8-4B9D-BD9A-1AC8EA99CA7F}" dt="2019-10-27T10:06:04.365" v="275" actId="20577"/>
          <ac:spMkLst>
            <pc:docMk/>
            <pc:sldMk cId="234142031" sldId="280"/>
            <ac:spMk id="2" creationId="{2C790A5D-A80F-415F-94A7-2F456C0C502C}"/>
          </ac:spMkLst>
        </pc:spChg>
        <pc:spChg chg="add mod">
          <ac:chgData name="Thomas Stensitzki" userId="75cafe6b-2f2a-469b-85c4-eec3b9c972ba" providerId="ADAL" clId="{D6558802-9FD8-4B9D-BD9A-1AC8EA99CA7F}" dt="2019-10-27T10:16:29.059" v="427" actId="14100"/>
          <ac:spMkLst>
            <pc:docMk/>
            <pc:sldMk cId="234142031" sldId="280"/>
            <ac:spMk id="3" creationId="{097477ED-A03B-4421-89A8-EB46EC94722B}"/>
          </ac:spMkLst>
        </pc:spChg>
        <pc:spChg chg="add mod">
          <ac:chgData name="Thomas Stensitzki" userId="75cafe6b-2f2a-469b-85c4-eec3b9c972ba" providerId="ADAL" clId="{D6558802-9FD8-4B9D-BD9A-1AC8EA99CA7F}" dt="2019-10-27T10:26:20.397" v="652" actId="5793"/>
          <ac:spMkLst>
            <pc:docMk/>
            <pc:sldMk cId="234142031" sldId="280"/>
            <ac:spMk id="4" creationId="{84291C01-F6FE-4BD3-BE3C-CBFAE622D2EE}"/>
          </ac:spMkLst>
        </pc:spChg>
        <pc:spChg chg="add mod">
          <ac:chgData name="Thomas Stensitzki" userId="75cafe6b-2f2a-469b-85c4-eec3b9c972ba" providerId="ADAL" clId="{D6558802-9FD8-4B9D-BD9A-1AC8EA99CA7F}" dt="2019-10-27T10:25:37.705" v="636" actId="1076"/>
          <ac:spMkLst>
            <pc:docMk/>
            <pc:sldMk cId="234142031" sldId="280"/>
            <ac:spMk id="7" creationId="{B11AD2DB-06B4-485D-A53F-9D608C274FD5}"/>
          </ac:spMkLst>
        </pc:spChg>
        <pc:graphicFrameChg chg="add mod modGraphic">
          <ac:chgData name="Thomas Stensitzki" userId="75cafe6b-2f2a-469b-85c4-eec3b9c972ba" providerId="ADAL" clId="{D6558802-9FD8-4B9D-BD9A-1AC8EA99CA7F}" dt="2019-10-27T10:21:48.967" v="628" actId="20577"/>
          <ac:graphicFrameMkLst>
            <pc:docMk/>
            <pc:sldMk cId="234142031" sldId="280"/>
            <ac:graphicFrameMk id="5" creationId="{0CEB356C-C237-4512-9F81-80D3C5B2649A}"/>
          </ac:graphicFrameMkLst>
        </pc:graphicFrame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671032201" sldId="280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132588270" sldId="281"/>
        </pc:sldMkLst>
      </pc:sldChg>
      <pc:sldChg chg="modSp add">
        <pc:chgData name="Thomas Stensitzki" userId="75cafe6b-2f2a-469b-85c4-eec3b9c972ba" providerId="ADAL" clId="{D6558802-9FD8-4B9D-BD9A-1AC8EA99CA7F}" dt="2019-10-27T10:31:24.718" v="895" actId="20577"/>
        <pc:sldMkLst>
          <pc:docMk/>
          <pc:sldMk cId="3270119054" sldId="281"/>
        </pc:sldMkLst>
        <pc:spChg chg="mod">
          <ac:chgData name="Thomas Stensitzki" userId="75cafe6b-2f2a-469b-85c4-eec3b9c972ba" providerId="ADAL" clId="{D6558802-9FD8-4B9D-BD9A-1AC8EA99CA7F}" dt="2019-10-27T10:26:29.508" v="653"/>
          <ac:spMkLst>
            <pc:docMk/>
            <pc:sldMk cId="3270119054" sldId="281"/>
            <ac:spMk id="2" creationId="{BE2C54D3-EEDB-4C58-A6C0-172B7373C613}"/>
          </ac:spMkLst>
        </pc:spChg>
        <pc:spChg chg="mod">
          <ac:chgData name="Thomas Stensitzki" userId="75cafe6b-2f2a-469b-85c4-eec3b9c972ba" providerId="ADAL" clId="{D6558802-9FD8-4B9D-BD9A-1AC8EA99CA7F}" dt="2019-10-27T10:30:37.343" v="828" actId="20577"/>
          <ac:spMkLst>
            <pc:docMk/>
            <pc:sldMk cId="3270119054" sldId="281"/>
            <ac:spMk id="3" creationId="{846837F5-A0F6-4309-9948-A01CACBBEB0B}"/>
          </ac:spMkLst>
        </pc:spChg>
        <pc:spChg chg="mod">
          <ac:chgData name="Thomas Stensitzki" userId="75cafe6b-2f2a-469b-85c4-eec3b9c972ba" providerId="ADAL" clId="{D6558802-9FD8-4B9D-BD9A-1AC8EA99CA7F}" dt="2019-10-27T10:31:24.718" v="895" actId="20577"/>
          <ac:spMkLst>
            <pc:docMk/>
            <pc:sldMk cId="3270119054" sldId="281"/>
            <ac:spMk id="4" creationId="{DE57DF87-5EF3-4C37-BE42-12028031E42C}"/>
          </ac:spMkLst>
        </pc:spChg>
      </pc:sldChg>
      <pc:sldChg chg="modSp add">
        <pc:chgData name="Thomas Stensitzki" userId="75cafe6b-2f2a-469b-85c4-eec3b9c972ba" providerId="ADAL" clId="{D6558802-9FD8-4B9D-BD9A-1AC8EA99CA7F}" dt="2019-10-27T10:33:29.318" v="1164" actId="20577"/>
        <pc:sldMkLst>
          <pc:docMk/>
          <pc:sldMk cId="1392728178" sldId="282"/>
        </pc:sldMkLst>
        <pc:spChg chg="mod">
          <ac:chgData name="Thomas Stensitzki" userId="75cafe6b-2f2a-469b-85c4-eec3b9c972ba" providerId="ADAL" clId="{D6558802-9FD8-4B9D-BD9A-1AC8EA99CA7F}" dt="2019-10-27T10:32:24.340" v="912" actId="20577"/>
          <ac:spMkLst>
            <pc:docMk/>
            <pc:sldMk cId="1392728178" sldId="282"/>
            <ac:spMk id="2" creationId="{99CACD2B-8D74-414D-A5E6-E8BFC9569BAD}"/>
          </ac:spMkLst>
        </pc:spChg>
        <pc:spChg chg="mod">
          <ac:chgData name="Thomas Stensitzki" userId="75cafe6b-2f2a-469b-85c4-eec3b9c972ba" providerId="ADAL" clId="{D6558802-9FD8-4B9D-BD9A-1AC8EA99CA7F}" dt="2019-10-27T10:33:29.318" v="1164" actId="20577"/>
          <ac:spMkLst>
            <pc:docMk/>
            <pc:sldMk cId="1392728178" sldId="282"/>
            <ac:spMk id="3" creationId="{A8DAF52B-C241-49D2-BBF8-9F407B6D340B}"/>
          </ac:spMkLst>
        </pc:sp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076058816" sldId="282"/>
        </pc:sldMkLst>
      </pc:sldChg>
      <pc:sldChg chg="addSp delSp modSp add del">
        <pc:chgData name="Thomas Stensitzki" userId="75cafe6b-2f2a-469b-85c4-eec3b9c972ba" providerId="ADAL" clId="{D6558802-9FD8-4B9D-BD9A-1AC8EA99CA7F}" dt="2019-10-27T10:14:26.863" v="419" actId="2696"/>
        <pc:sldMkLst>
          <pc:docMk/>
          <pc:sldMk cId="3713402295" sldId="282"/>
        </pc:sldMkLst>
        <pc:spChg chg="del mod">
          <ac:chgData name="Thomas Stensitzki" userId="75cafe6b-2f2a-469b-85c4-eec3b9c972ba" providerId="ADAL" clId="{D6558802-9FD8-4B9D-BD9A-1AC8EA99CA7F}" dt="2019-10-27T10:13:25.967" v="416"/>
          <ac:spMkLst>
            <pc:docMk/>
            <pc:sldMk cId="3713402295" sldId="282"/>
            <ac:spMk id="2" creationId="{45966F81-927C-4B7A-B8AE-D759956C9D74}"/>
          </ac:spMkLst>
        </pc:spChg>
        <pc:spChg chg="del">
          <ac:chgData name="Thomas Stensitzki" userId="75cafe6b-2f2a-469b-85c4-eec3b9c972ba" providerId="ADAL" clId="{D6558802-9FD8-4B9D-BD9A-1AC8EA99CA7F}" dt="2019-10-27T10:13:25.967" v="416"/>
          <ac:spMkLst>
            <pc:docMk/>
            <pc:sldMk cId="3713402295" sldId="282"/>
            <ac:spMk id="3" creationId="{BB5A0BC8-4633-4D5A-A899-AFF25D150856}"/>
          </ac:spMkLst>
        </pc:spChg>
        <pc:spChg chg="del">
          <ac:chgData name="Thomas Stensitzki" userId="75cafe6b-2f2a-469b-85c4-eec3b9c972ba" providerId="ADAL" clId="{D6558802-9FD8-4B9D-BD9A-1AC8EA99CA7F}" dt="2019-10-27T10:13:25.967" v="416"/>
          <ac:spMkLst>
            <pc:docMk/>
            <pc:sldMk cId="3713402295" sldId="282"/>
            <ac:spMk id="4" creationId="{218A0FBA-6821-47DF-8517-50515C6D83B4}"/>
          </ac:spMkLst>
        </pc:spChg>
        <pc:picChg chg="add mod">
          <ac:chgData name="Thomas Stensitzki" userId="75cafe6b-2f2a-469b-85c4-eec3b9c972ba" providerId="ADAL" clId="{D6558802-9FD8-4B9D-BD9A-1AC8EA99CA7F}" dt="2019-10-27T10:14:14.665" v="418"/>
          <ac:picMkLst>
            <pc:docMk/>
            <pc:sldMk cId="3713402295" sldId="282"/>
            <ac:picMk id="5" creationId="{4F4B53A6-8001-4686-9CFF-841F9F40706B}"/>
          </ac:picMkLst>
        </pc:pic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739882426" sldId="283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295375751" sldId="284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531332204" sldId="285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572513754" sldId="286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746320788" sldId="287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049271955" sldId="288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468189571" sldId="289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722891500" sldId="290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615471493" sldId="291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97286884" sldId="292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983307875" sldId="293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554480883" sldId="294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381329992" sldId="295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759766632" sldId="296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044294694" sldId="297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4146826759" sldId="298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887372333" sldId="299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170765889" sldId="300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659899239" sldId="301"/>
        </pc:sldMkLst>
      </pc:sldChg>
    </pc:docChg>
  </pc:docChgLst>
  <pc:docChgLst>
    <pc:chgData name="Thomas Stensitzki" userId="75cafe6b-2f2a-469b-85c4-eec3b9c972ba" providerId="ADAL" clId="{E95FD17A-36A4-476A-A66C-A316172386D2}"/>
    <pc:docChg chg="custSel addSld modSld sldOrd addSection modSection">
      <pc:chgData name="Thomas Stensitzki" userId="75cafe6b-2f2a-469b-85c4-eec3b9c972ba" providerId="ADAL" clId="{E95FD17A-36A4-476A-A66C-A316172386D2}" dt="2021-06-10T13:59:40.167" v="473" actId="20577"/>
      <pc:docMkLst>
        <pc:docMk/>
      </pc:docMkLst>
      <pc:sldChg chg="modSp mod">
        <pc:chgData name="Thomas Stensitzki" userId="75cafe6b-2f2a-469b-85c4-eec3b9c972ba" providerId="ADAL" clId="{E95FD17A-36A4-476A-A66C-A316172386D2}" dt="2021-06-10T13:29:42.393" v="29" actId="6549"/>
        <pc:sldMkLst>
          <pc:docMk/>
          <pc:sldMk cId="353304963" sldId="256"/>
        </pc:sldMkLst>
        <pc:spChg chg="mod">
          <ac:chgData name="Thomas Stensitzki" userId="75cafe6b-2f2a-469b-85c4-eec3b9c972ba" providerId="ADAL" clId="{E95FD17A-36A4-476A-A66C-A316172386D2}" dt="2021-06-10T13:29:42.393" v="29" actId="6549"/>
          <ac:spMkLst>
            <pc:docMk/>
            <pc:sldMk cId="353304963" sldId="256"/>
            <ac:spMk id="3" creationId="{00000000-0000-0000-0000-000000000000}"/>
          </ac:spMkLst>
        </pc:spChg>
      </pc:sldChg>
      <pc:sldChg chg="modSp mod ord">
        <pc:chgData name="Thomas Stensitzki" userId="75cafe6b-2f2a-469b-85c4-eec3b9c972ba" providerId="ADAL" clId="{E95FD17A-36A4-476A-A66C-A316172386D2}" dt="2021-06-10T13:59:40.167" v="473" actId="20577"/>
        <pc:sldMkLst>
          <pc:docMk/>
          <pc:sldMk cId="1120448015" sldId="283"/>
        </pc:sldMkLst>
        <pc:spChg chg="mod">
          <ac:chgData name="Thomas Stensitzki" userId="75cafe6b-2f2a-469b-85c4-eec3b9c972ba" providerId="ADAL" clId="{E95FD17A-36A4-476A-A66C-A316172386D2}" dt="2021-06-10T13:59:33.297" v="454" actId="27636"/>
          <ac:spMkLst>
            <pc:docMk/>
            <pc:sldMk cId="1120448015" sldId="283"/>
            <ac:spMk id="8" creationId="{7753695D-B6FA-4781-8B90-054226157255}"/>
          </ac:spMkLst>
        </pc:spChg>
        <pc:spChg chg="mod">
          <ac:chgData name="Thomas Stensitzki" userId="75cafe6b-2f2a-469b-85c4-eec3b9c972ba" providerId="ADAL" clId="{E95FD17A-36A4-476A-A66C-A316172386D2}" dt="2021-06-10T13:59:40.167" v="473" actId="20577"/>
          <ac:spMkLst>
            <pc:docMk/>
            <pc:sldMk cId="1120448015" sldId="283"/>
            <ac:spMk id="9" creationId="{7ACD5D95-6785-48AB-A08F-F511798021FE}"/>
          </ac:spMkLst>
        </pc:spChg>
      </pc:sldChg>
      <pc:sldChg chg="modSp mod">
        <pc:chgData name="Thomas Stensitzki" userId="75cafe6b-2f2a-469b-85c4-eec3b9c972ba" providerId="ADAL" clId="{E95FD17A-36A4-476A-A66C-A316172386D2}" dt="2021-06-10T13:59:04.009" v="447" actId="790"/>
        <pc:sldMkLst>
          <pc:docMk/>
          <pc:sldMk cId="848503523" sldId="286"/>
        </pc:sldMkLst>
        <pc:spChg chg="mod">
          <ac:chgData name="Thomas Stensitzki" userId="75cafe6b-2f2a-469b-85c4-eec3b9c972ba" providerId="ADAL" clId="{E95FD17A-36A4-476A-A66C-A316172386D2}" dt="2021-06-10T13:29:59.592" v="31" actId="6549"/>
          <ac:spMkLst>
            <pc:docMk/>
            <pc:sldMk cId="848503523" sldId="286"/>
            <ac:spMk id="2" creationId="{65E62FD1-8696-4A34-B061-3373BFCBD06C}"/>
          </ac:spMkLst>
        </pc:spChg>
        <pc:spChg chg="mod">
          <ac:chgData name="Thomas Stensitzki" userId="75cafe6b-2f2a-469b-85c4-eec3b9c972ba" providerId="ADAL" clId="{E95FD17A-36A4-476A-A66C-A316172386D2}" dt="2021-06-10T13:59:04.009" v="447" actId="790"/>
          <ac:spMkLst>
            <pc:docMk/>
            <pc:sldMk cId="848503523" sldId="286"/>
            <ac:spMk id="3" creationId="{5A9BE1F8-07C8-4A22-93C8-5725DE760CD3}"/>
          </ac:spMkLst>
        </pc:spChg>
      </pc:sldChg>
      <pc:sldChg chg="add">
        <pc:chgData name="Thomas Stensitzki" userId="75cafe6b-2f2a-469b-85c4-eec3b9c972ba" providerId="ADAL" clId="{E95FD17A-36A4-476A-A66C-A316172386D2}" dt="2021-06-10T13:59:08.712" v="448"/>
        <pc:sldMkLst>
          <pc:docMk/>
          <pc:sldMk cId="1800322613" sldId="287"/>
        </pc:sldMkLst>
      </pc:sldChg>
    </pc:docChg>
  </pc:docChgLst>
  <pc:docChgLst>
    <pc:chgData name="Thomas Stensitzki" userId="75cafe6b-2f2a-469b-85c4-eec3b9c972ba" providerId="ADAL" clId="{06E14ABF-FC4C-4B98-B2A4-DF762ED946F2}"/>
    <pc:docChg chg="undo custSel mod addSld delSld modSld sldOrd delSection modSection">
      <pc:chgData name="Thomas Stensitzki" userId="75cafe6b-2f2a-469b-85c4-eec3b9c972ba" providerId="ADAL" clId="{06E14ABF-FC4C-4B98-B2A4-DF762ED946F2}" dt="2019-04-03T17:24:54.400" v="6024" actId="6549"/>
      <pc:docMkLst>
        <pc:docMk/>
      </pc:docMkLst>
      <pc:sldChg chg="modSp modTransition modNotes">
        <pc:chgData name="Thomas Stensitzki" userId="75cafe6b-2f2a-469b-85c4-eec3b9c972ba" providerId="ADAL" clId="{06E14ABF-FC4C-4B98-B2A4-DF762ED946F2}" dt="2019-04-03T14:44:25.168" v="6015" actId="113"/>
        <pc:sldMkLst>
          <pc:docMk/>
          <pc:sldMk cId="353304963" sldId="256"/>
        </pc:sldMkLst>
        <pc:spChg chg="mod">
          <ac:chgData name="Thomas Stensitzki" userId="75cafe6b-2f2a-469b-85c4-eec3b9c972ba" providerId="ADAL" clId="{06E14ABF-FC4C-4B98-B2A4-DF762ED946F2}" dt="2019-04-03T14:44:25.168" v="6015" actId="113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898" v="940" actId="790"/>
          <ac:spMkLst>
            <pc:docMk/>
            <pc:sldMk cId="353304963" sldId="256"/>
            <ac:spMk id="3" creationId="{00000000-0000-0000-0000-000000000000}"/>
          </ac:spMkLst>
        </pc:spChg>
      </pc:sldChg>
      <pc:sldChg chg="addSp modSp ord modTransition modNotes">
        <pc:chgData name="Thomas Stensitzki" userId="75cafe6b-2f2a-469b-85c4-eec3b9c972ba" providerId="ADAL" clId="{06E14ABF-FC4C-4B98-B2A4-DF762ED946F2}" dt="2019-04-02T17:26:04.950" v="956" actId="790"/>
        <pc:sldMkLst>
          <pc:docMk/>
          <pc:sldMk cId="3986585176" sldId="258"/>
        </pc:sldMkLst>
        <pc:spChg chg="mod">
          <ac:chgData name="Thomas Stensitzki" userId="75cafe6b-2f2a-469b-85c4-eec3b9c972ba" providerId="ADAL" clId="{06E14ABF-FC4C-4B98-B2A4-DF762ED946F2}" dt="2019-04-02T17:26:04.937" v="952" actId="790"/>
          <ac:spMkLst>
            <pc:docMk/>
            <pc:sldMk cId="3986585176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41" v="953" actId="790"/>
          <ac:spMkLst>
            <pc:docMk/>
            <pc:sldMk cId="3986585176" sldId="258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45" v="954" actId="790"/>
          <ac:spMkLst>
            <pc:docMk/>
            <pc:sldMk cId="3986585176" sldId="258"/>
            <ac:spMk id="4" creationId="{00000000-0000-0000-0000-000000000000}"/>
          </ac:spMkLst>
        </pc:spChg>
        <pc:picChg chg="add mod">
          <ac:chgData name="Thomas Stensitzki" userId="75cafe6b-2f2a-469b-85c4-eec3b9c972ba" providerId="ADAL" clId="{06E14ABF-FC4C-4B98-B2A4-DF762ED946F2}" dt="2019-03-31T15:17:10.753" v="693" actId="1076"/>
          <ac:picMkLst>
            <pc:docMk/>
            <pc:sldMk cId="3986585176" sldId="258"/>
            <ac:picMk id="7" creationId="{88F97777-565E-4AA3-9103-8EB7EB31F749}"/>
          </ac:picMkLst>
        </pc:picChg>
      </pc:sldChg>
      <pc:sldChg chg="modSp modTransition modNotes">
        <pc:chgData name="Thomas Stensitzki" userId="75cafe6b-2f2a-469b-85c4-eec3b9c972ba" providerId="ADAL" clId="{06E14ABF-FC4C-4B98-B2A4-DF762ED946F2}" dt="2019-04-02T17:26:04.961" v="960" actId="790"/>
        <pc:sldMkLst>
          <pc:docMk/>
          <pc:sldMk cId="577492687" sldId="259"/>
        </pc:sldMkLst>
        <pc:spChg chg="mod">
          <ac:chgData name="Thomas Stensitzki" userId="75cafe6b-2f2a-469b-85c4-eec3b9c972ba" providerId="ADAL" clId="{06E14ABF-FC4C-4B98-B2A4-DF762ED946F2}" dt="2019-04-02T17:26:04.952" v="957" actId="790"/>
          <ac:spMkLst>
            <pc:docMk/>
            <pc:sldMk cId="577492687" sldId="259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4.955" v="958" actId="790"/>
          <ac:spMkLst>
            <pc:docMk/>
            <pc:sldMk cId="577492687" sldId="259"/>
            <ac:spMk id="6" creationId="{9D5FCE5E-BE6E-4AAA-BFE2-CADDE02D473C}"/>
          </ac:spMkLst>
        </pc:spChg>
      </pc:sldChg>
      <pc:sldChg chg="addSp delSp modSp mod modTransition setBg delAnim modAnim modNotes modNotesTx">
        <pc:chgData name="Thomas Stensitzki" userId="75cafe6b-2f2a-469b-85c4-eec3b9c972ba" providerId="ADAL" clId="{06E14ABF-FC4C-4B98-B2A4-DF762ED946F2}" dt="2019-04-02T17:26:04.983" v="968" actId="790"/>
        <pc:sldMkLst>
          <pc:docMk/>
          <pc:sldMk cId="3322716105" sldId="260"/>
        </pc:sldMkLst>
        <pc:spChg chg="add del mod">
          <ac:chgData name="Thomas Stensitzki" userId="75cafe6b-2f2a-469b-85c4-eec3b9c972ba" providerId="ADAL" clId="{06E14ABF-FC4C-4B98-B2A4-DF762ED946F2}" dt="2019-03-31T14:55:42.603" v="135" actId="478"/>
          <ac:spMkLst>
            <pc:docMk/>
            <pc:sldMk cId="3322716105" sldId="260"/>
            <ac:spMk id="3" creationId="{E8127EFB-877F-4629-958D-C6EC06AC0B2F}"/>
          </ac:spMkLst>
        </pc:spChg>
        <pc:spChg chg="mod">
          <ac:chgData name="Thomas Stensitzki" userId="75cafe6b-2f2a-469b-85c4-eec3b9c972ba" providerId="ADAL" clId="{06E14ABF-FC4C-4B98-B2A4-DF762ED946F2}" dt="2019-04-02T17:26:04.965" v="961" actId="790"/>
          <ac:spMkLst>
            <pc:docMk/>
            <pc:sldMk cId="3322716105" sldId="260"/>
            <ac:spMk id="4" creationId="{68CFF749-310B-4209-A6F9-A841F771F5E9}"/>
          </ac:spMkLst>
        </pc:spChg>
        <pc:spChg chg="del">
          <ac:chgData name="Thomas Stensitzki" userId="75cafe6b-2f2a-469b-85c4-eec3b9c972ba" providerId="ADAL" clId="{06E14ABF-FC4C-4B98-B2A4-DF762ED946F2}" dt="2019-03-31T14:55:38.999" v="134" actId="478"/>
          <ac:spMkLst>
            <pc:docMk/>
            <pc:sldMk cId="3322716105" sldId="260"/>
            <ac:spMk id="5" creationId="{91CFE9EE-8010-410B-A3CD-FA8CCE75090D}"/>
          </ac:spMkLst>
        </pc:spChg>
        <pc:spChg chg="mod">
          <ac:chgData name="Thomas Stensitzki" userId="75cafe6b-2f2a-469b-85c4-eec3b9c972ba" providerId="ADAL" clId="{06E14ABF-FC4C-4B98-B2A4-DF762ED946F2}" dt="2019-04-02T17:26:04.967" v="962" actId="790"/>
          <ac:spMkLst>
            <pc:docMk/>
            <pc:sldMk cId="3322716105" sldId="260"/>
            <ac:spMk id="6" creationId="{3E77F062-0B41-463B-AC26-65F223DBB915}"/>
          </ac:spMkLst>
        </pc:spChg>
        <pc:spChg chg="add mod">
          <ac:chgData name="Thomas Stensitzki" userId="75cafe6b-2f2a-469b-85c4-eec3b9c972ba" providerId="ADAL" clId="{06E14ABF-FC4C-4B98-B2A4-DF762ED946F2}" dt="2019-04-02T17:26:04.970" v="963" actId="790"/>
          <ac:spMkLst>
            <pc:docMk/>
            <pc:sldMk cId="3322716105" sldId="260"/>
            <ac:spMk id="11" creationId="{53043CD2-092C-4757-956D-63E65546076E}"/>
          </ac:spMkLst>
        </pc:spChg>
        <pc:spChg chg="add del">
          <ac:chgData name="Thomas Stensitzki" userId="75cafe6b-2f2a-469b-85c4-eec3b9c972ba" providerId="ADAL" clId="{06E14ABF-FC4C-4B98-B2A4-DF762ED946F2}" dt="2019-03-31T14:57:15.965" v="138" actId="26606"/>
          <ac:spMkLst>
            <pc:docMk/>
            <pc:sldMk cId="3322716105" sldId="260"/>
            <ac:spMk id="12" creationId="{59A309A7-1751-4ABE-A3C1-EEC40366AD89}"/>
          </ac:spMkLst>
        </pc:spChg>
        <pc:spChg chg="add del">
          <ac:chgData name="Thomas Stensitzki" userId="75cafe6b-2f2a-469b-85c4-eec3b9c972ba" providerId="ADAL" clId="{06E14ABF-FC4C-4B98-B2A4-DF762ED946F2}" dt="2019-03-31T14:57:15.965" v="138" actId="26606"/>
          <ac:spMkLst>
            <pc:docMk/>
            <pc:sldMk cId="3322716105" sldId="260"/>
            <ac:spMk id="14" creationId="{967D8EB6-EAE1-4F9C-B398-83321E287204}"/>
          </ac:spMkLst>
        </pc:spChg>
        <pc:spChg chg="add mod">
          <ac:chgData name="Thomas Stensitzki" userId="75cafe6b-2f2a-469b-85c4-eec3b9c972ba" providerId="ADAL" clId="{06E14ABF-FC4C-4B98-B2A4-DF762ED946F2}" dt="2019-04-02T17:26:04.973" v="964" actId="790"/>
          <ac:spMkLst>
            <pc:docMk/>
            <pc:sldMk cId="3322716105" sldId="260"/>
            <ac:spMk id="15" creationId="{4665514F-A859-487A-9838-ECEB03F42132}"/>
          </ac:spMkLst>
        </pc:spChg>
        <pc:spChg chg="add mod">
          <ac:chgData name="Thomas Stensitzki" userId="75cafe6b-2f2a-469b-85c4-eec3b9c972ba" providerId="ADAL" clId="{06E14ABF-FC4C-4B98-B2A4-DF762ED946F2}" dt="2019-04-02T17:26:04.975" v="965" actId="790"/>
          <ac:spMkLst>
            <pc:docMk/>
            <pc:sldMk cId="3322716105" sldId="260"/>
            <ac:spMk id="16" creationId="{1BB8EF91-5E62-4B4F-A844-931B2A6A2545}"/>
          </ac:spMkLst>
        </pc:spChg>
        <pc:spChg chg="add mod">
          <ac:chgData name="Thomas Stensitzki" userId="75cafe6b-2f2a-469b-85c4-eec3b9c972ba" providerId="ADAL" clId="{06E14ABF-FC4C-4B98-B2A4-DF762ED946F2}" dt="2019-04-02T17:26:04.977" v="966" actId="790"/>
          <ac:spMkLst>
            <pc:docMk/>
            <pc:sldMk cId="3322716105" sldId="260"/>
            <ac:spMk id="17" creationId="{AC2D8443-81D2-4106-BE97-18FEAA33AD7F}"/>
          </ac:spMkLst>
        </pc:spChg>
        <pc:grpChg chg="add mod">
          <ac:chgData name="Thomas Stensitzki" userId="75cafe6b-2f2a-469b-85c4-eec3b9c972ba" providerId="ADAL" clId="{06E14ABF-FC4C-4B98-B2A4-DF762ED946F2}" dt="2019-03-31T15:08:34.753" v="684" actId="164"/>
          <ac:grpSpMkLst>
            <pc:docMk/>
            <pc:sldMk cId="3322716105" sldId="260"/>
            <ac:grpSpMk id="13" creationId="{54B3A9E3-430E-47A2-9331-76F5EE858C54}"/>
          </ac:grpSpMkLst>
        </pc:grpChg>
        <pc:grpChg chg="add mod">
          <ac:chgData name="Thomas Stensitzki" userId="75cafe6b-2f2a-469b-85c4-eec3b9c972ba" providerId="ADAL" clId="{06E14ABF-FC4C-4B98-B2A4-DF762ED946F2}" dt="2019-03-31T15:08:38.195" v="685" actId="164"/>
          <ac:grpSpMkLst>
            <pc:docMk/>
            <pc:sldMk cId="3322716105" sldId="260"/>
            <ac:grpSpMk id="18" creationId="{3071B602-7EF3-4988-A30D-D61CB1A15148}"/>
          </ac:grpSpMkLst>
        </pc:grpChg>
        <pc:grpChg chg="add mod">
          <ac:chgData name="Thomas Stensitzki" userId="75cafe6b-2f2a-469b-85c4-eec3b9c972ba" providerId="ADAL" clId="{06E14ABF-FC4C-4B98-B2A4-DF762ED946F2}" dt="2019-03-31T15:08:42.651" v="686" actId="164"/>
          <ac:grpSpMkLst>
            <pc:docMk/>
            <pc:sldMk cId="3322716105" sldId="260"/>
            <ac:grpSpMk id="19" creationId="{343D7AD8-4214-48D5-82D2-3B81FA0CDA83}"/>
          </ac:grpSpMkLst>
        </pc:grpChg>
        <pc:grpChg chg="add mod">
          <ac:chgData name="Thomas Stensitzki" userId="75cafe6b-2f2a-469b-85c4-eec3b9c972ba" providerId="ADAL" clId="{06E14ABF-FC4C-4B98-B2A4-DF762ED946F2}" dt="2019-03-31T15:08:45.724" v="687" actId="164"/>
          <ac:grpSpMkLst>
            <pc:docMk/>
            <pc:sldMk cId="3322716105" sldId="260"/>
            <ac:grpSpMk id="20" creationId="{75D3FE8D-A729-4466-82F3-3D4EE6E36811}"/>
          </ac:grpSpMkLst>
        </pc:grpChg>
        <pc:picChg chg="add mod">
          <ac:chgData name="Thomas Stensitzki" userId="75cafe6b-2f2a-469b-85c4-eec3b9c972ba" providerId="ADAL" clId="{06E14ABF-FC4C-4B98-B2A4-DF762ED946F2}" dt="2019-03-31T15:08:34.753" v="684" actId="164"/>
          <ac:picMkLst>
            <pc:docMk/>
            <pc:sldMk cId="3322716105" sldId="260"/>
            <ac:picMk id="7" creationId="{AFAB17B4-580C-437A-9A55-97AE734641EE}"/>
          </ac:picMkLst>
        </pc:picChg>
        <pc:picChg chg="add mod">
          <ac:chgData name="Thomas Stensitzki" userId="75cafe6b-2f2a-469b-85c4-eec3b9c972ba" providerId="ADAL" clId="{06E14ABF-FC4C-4B98-B2A4-DF762ED946F2}" dt="2019-03-31T15:08:38.195" v="685" actId="164"/>
          <ac:picMkLst>
            <pc:docMk/>
            <pc:sldMk cId="3322716105" sldId="260"/>
            <ac:picMk id="8" creationId="{5466727C-60B1-433E-B75C-099D400A4ECF}"/>
          </ac:picMkLst>
        </pc:picChg>
        <pc:picChg chg="add mod">
          <ac:chgData name="Thomas Stensitzki" userId="75cafe6b-2f2a-469b-85c4-eec3b9c972ba" providerId="ADAL" clId="{06E14ABF-FC4C-4B98-B2A4-DF762ED946F2}" dt="2019-03-31T15:08:42.651" v="686" actId="164"/>
          <ac:picMkLst>
            <pc:docMk/>
            <pc:sldMk cId="3322716105" sldId="260"/>
            <ac:picMk id="9" creationId="{76449023-59A2-4F42-9FF8-B016F0AEFFDB}"/>
          </ac:picMkLst>
        </pc:picChg>
        <pc:picChg chg="add mod">
          <ac:chgData name="Thomas Stensitzki" userId="75cafe6b-2f2a-469b-85c4-eec3b9c972ba" providerId="ADAL" clId="{06E14ABF-FC4C-4B98-B2A4-DF762ED946F2}" dt="2019-03-31T15:08:45.724" v="687" actId="164"/>
          <ac:picMkLst>
            <pc:docMk/>
            <pc:sldMk cId="3322716105" sldId="260"/>
            <ac:picMk id="10" creationId="{8E8A5F47-CBCF-490D-974C-A55468F933B9}"/>
          </ac:picMkLst>
        </pc:picChg>
      </pc:sldChg>
      <pc:sldChg chg="modSp modTransition modNotes">
        <pc:chgData name="Thomas Stensitzki" userId="75cafe6b-2f2a-469b-85c4-eec3b9c972ba" providerId="ADAL" clId="{06E14ABF-FC4C-4B98-B2A4-DF762ED946F2}" dt="2019-04-02T17:26:05.666" v="1226" actId="790"/>
        <pc:sldMkLst>
          <pc:docMk/>
          <pc:sldMk cId="1248369839" sldId="266"/>
        </pc:sldMkLst>
        <pc:spChg chg="mod">
          <ac:chgData name="Thomas Stensitzki" userId="75cafe6b-2f2a-469b-85c4-eec3b9c972ba" providerId="ADAL" clId="{06E14ABF-FC4C-4B98-B2A4-DF762ED946F2}" dt="2019-04-02T17:26:05.656" v="1222" actId="790"/>
          <ac:spMkLst>
            <pc:docMk/>
            <pc:sldMk cId="1248369839" sldId="266"/>
            <ac:spMk id="2" creationId="{34D916E7-766B-4E0B-9454-B7F1ADAB02D4}"/>
          </ac:spMkLst>
        </pc:spChg>
        <pc:spChg chg="mod">
          <ac:chgData name="Thomas Stensitzki" userId="75cafe6b-2f2a-469b-85c4-eec3b9c972ba" providerId="ADAL" clId="{06E14ABF-FC4C-4B98-B2A4-DF762ED946F2}" dt="2019-04-02T17:26:05.658" v="1223" actId="790"/>
          <ac:spMkLst>
            <pc:docMk/>
            <pc:sldMk cId="1248369839" sldId="266"/>
            <ac:spMk id="6" creationId="{655AA805-1CE0-400B-A070-A09DAF42527F}"/>
          </ac:spMkLst>
        </pc:spChg>
        <pc:spChg chg="mod">
          <ac:chgData name="Thomas Stensitzki" userId="75cafe6b-2f2a-469b-85c4-eec3b9c972ba" providerId="ADAL" clId="{06E14ABF-FC4C-4B98-B2A4-DF762ED946F2}" dt="2019-04-02T17:26:05.660" v="1224" actId="790"/>
          <ac:spMkLst>
            <pc:docMk/>
            <pc:sldMk cId="1248369839" sldId="266"/>
            <ac:spMk id="7" creationId="{F4D1189F-A3C3-4333-B4C3-9ACDF0638573}"/>
          </ac:spMkLst>
        </pc:spChg>
      </pc:sldChg>
      <pc:sldChg chg="addSp delSp modSp add modTransition modNotes">
        <pc:chgData name="Thomas Stensitzki" userId="75cafe6b-2f2a-469b-85c4-eec3b9c972ba" providerId="ADAL" clId="{06E14ABF-FC4C-4B98-B2A4-DF762ED946F2}" dt="2019-04-02T17:26:04.916" v="946" actId="790"/>
        <pc:sldMkLst>
          <pc:docMk/>
          <pc:sldMk cId="28132323" sldId="274"/>
        </pc:sldMkLst>
        <pc:spChg chg="mod">
          <ac:chgData name="Thomas Stensitzki" userId="75cafe6b-2f2a-469b-85c4-eec3b9c972ba" providerId="ADAL" clId="{06E14ABF-FC4C-4B98-B2A4-DF762ED946F2}" dt="2019-04-02T17:26:04.907" v="943" actId="790"/>
          <ac:spMkLst>
            <pc:docMk/>
            <pc:sldMk cId="28132323" sldId="274"/>
            <ac:spMk id="2" creationId="{8A16B391-36DA-4FD3-95E3-C45E98AE4755}"/>
          </ac:spMkLst>
        </pc:spChg>
        <pc:spChg chg="del">
          <ac:chgData name="Thomas Stensitzki" userId="75cafe6b-2f2a-469b-85c4-eec3b9c972ba" providerId="ADAL" clId="{06E14ABF-FC4C-4B98-B2A4-DF762ED946F2}" dt="2019-03-29T13:02:07.056" v="45" actId="478"/>
          <ac:spMkLst>
            <pc:docMk/>
            <pc:sldMk cId="28132323" sldId="274"/>
            <ac:spMk id="3" creationId="{A729CAED-E5F8-4A59-B9C1-189CD475D29F}"/>
          </ac:spMkLst>
        </pc:spChg>
        <pc:spChg chg="mod">
          <ac:chgData name="Thomas Stensitzki" userId="75cafe6b-2f2a-469b-85c4-eec3b9c972ba" providerId="ADAL" clId="{06E14ABF-FC4C-4B98-B2A4-DF762ED946F2}" dt="2019-04-02T17:26:04.909" v="944" actId="790"/>
          <ac:spMkLst>
            <pc:docMk/>
            <pc:sldMk cId="28132323" sldId="274"/>
            <ac:spMk id="4" creationId="{3CDC1E90-4388-4F8B-B1DC-2DC6C03548A2}"/>
          </ac:spMkLst>
        </pc:spChg>
        <pc:picChg chg="add mod">
          <ac:chgData name="Thomas Stensitzki" userId="75cafe6b-2f2a-469b-85c4-eec3b9c972ba" providerId="ADAL" clId="{06E14ABF-FC4C-4B98-B2A4-DF762ED946F2}" dt="2019-03-29T13:02:35.972" v="49" actId="12788"/>
          <ac:picMkLst>
            <pc:docMk/>
            <pc:sldMk cId="28132323" sldId="274"/>
            <ac:picMk id="5" creationId="{126BC707-0610-47CC-A6BE-C945356FD3D8}"/>
          </ac:picMkLst>
        </pc:picChg>
      </pc:sldChg>
      <pc:sldChg chg="modSp add modTransition modNotes">
        <pc:chgData name="Thomas Stensitzki" userId="75cafe6b-2f2a-469b-85c4-eec3b9c972ba" providerId="ADAL" clId="{06E14ABF-FC4C-4B98-B2A4-DF762ED946F2}" dt="2019-04-02T17:26:04.933" v="951" actId="790"/>
        <pc:sldMkLst>
          <pc:docMk/>
          <pc:sldMk cId="1868214746" sldId="275"/>
        </pc:sldMkLst>
        <pc:spChg chg="mod">
          <ac:chgData name="Thomas Stensitzki" userId="75cafe6b-2f2a-469b-85c4-eec3b9c972ba" providerId="ADAL" clId="{06E14ABF-FC4C-4B98-B2A4-DF762ED946F2}" dt="2019-04-02T17:26:04.917" v="947" actId="790"/>
          <ac:spMkLst>
            <pc:docMk/>
            <pc:sldMk cId="1868214746" sldId="275"/>
            <ac:spMk id="2" creationId="{7B61AEE5-2048-412D-9310-CB7BD44DAF4A}"/>
          </ac:spMkLst>
        </pc:spChg>
        <pc:spChg chg="mod">
          <ac:chgData name="Thomas Stensitzki" userId="75cafe6b-2f2a-469b-85c4-eec3b9c972ba" providerId="ADAL" clId="{06E14ABF-FC4C-4B98-B2A4-DF762ED946F2}" dt="2019-04-02T17:26:04.922" v="948" actId="790"/>
          <ac:spMkLst>
            <pc:docMk/>
            <pc:sldMk cId="1868214746" sldId="275"/>
            <ac:spMk id="3" creationId="{E1F1ABE0-AC4E-4F90-B3A3-E5B6ACA97DE2}"/>
          </ac:spMkLst>
        </pc:spChg>
        <pc:spChg chg="mod">
          <ac:chgData name="Thomas Stensitzki" userId="75cafe6b-2f2a-469b-85c4-eec3b9c972ba" providerId="ADAL" clId="{06E14ABF-FC4C-4B98-B2A4-DF762ED946F2}" dt="2019-04-02T17:26:04.926" v="949" actId="790"/>
          <ac:spMkLst>
            <pc:docMk/>
            <pc:sldMk cId="1868214746" sldId="275"/>
            <ac:spMk id="4" creationId="{4CE104C8-E25F-4F57-A2CC-91D8E92E352A}"/>
          </ac:spMkLst>
        </pc:spChg>
      </pc:sldChg>
      <pc:sldChg chg="modSp add modTransition modNotes">
        <pc:chgData name="Thomas Stensitzki" userId="75cafe6b-2f2a-469b-85c4-eec3b9c972ba" providerId="ADAL" clId="{06E14ABF-FC4C-4B98-B2A4-DF762ED946F2}" dt="2019-04-02T17:26:05.548" v="1192" actId="790"/>
        <pc:sldMkLst>
          <pc:docMk/>
          <pc:sldMk cId="1934596246" sldId="276"/>
        </pc:sldMkLst>
        <pc:spChg chg="mod">
          <ac:chgData name="Thomas Stensitzki" userId="75cafe6b-2f2a-469b-85c4-eec3b9c972ba" providerId="ADAL" clId="{06E14ABF-FC4C-4B98-B2A4-DF762ED946F2}" dt="2019-04-02T17:26:05.541" v="1189" actId="790"/>
          <ac:spMkLst>
            <pc:docMk/>
            <pc:sldMk cId="1934596246" sldId="276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5.543" v="1190" actId="790"/>
          <ac:spMkLst>
            <pc:docMk/>
            <pc:sldMk cId="1934596246" sldId="276"/>
            <ac:spMk id="6" creationId="{9D5FCE5E-BE6E-4AAA-BFE2-CADDE02D473C}"/>
          </ac:spMkLst>
        </pc:spChg>
      </pc:sldChg>
      <pc:sldChg chg="modSp add modTransition modNotes">
        <pc:chgData name="Thomas Stensitzki" userId="75cafe6b-2f2a-469b-85c4-eec3b9c972ba" providerId="ADAL" clId="{06E14ABF-FC4C-4B98-B2A4-DF762ED946F2}" dt="2019-04-02T17:26:05.645" v="1217" actId="790"/>
        <pc:sldMkLst>
          <pc:docMk/>
          <pc:sldMk cId="2855165129" sldId="277"/>
        </pc:sldMkLst>
        <pc:spChg chg="mod">
          <ac:chgData name="Thomas Stensitzki" userId="75cafe6b-2f2a-469b-85c4-eec3b9c972ba" providerId="ADAL" clId="{06E14ABF-FC4C-4B98-B2A4-DF762ED946F2}" dt="2019-04-02T17:26:05.634" v="1213" actId="790"/>
          <ac:spMkLst>
            <pc:docMk/>
            <pc:sldMk cId="2855165129" sldId="277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637" v="1214" actId="790"/>
          <ac:spMkLst>
            <pc:docMk/>
            <pc:sldMk cId="2855165129" sldId="277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639" v="1215" actId="790"/>
          <ac:spMkLst>
            <pc:docMk/>
            <pc:sldMk cId="2855165129" sldId="277"/>
            <ac:spMk id="4" creationId="{00000000-0000-0000-0000-000000000000}"/>
          </ac:spMkLst>
        </pc:spChg>
      </pc:sldChg>
      <pc:sldChg chg="addSp delSp modSp add modAnim modNotes">
        <pc:chgData name="Thomas Stensitzki" userId="75cafe6b-2f2a-469b-85c4-eec3b9c972ba" providerId="ADAL" clId="{06E14ABF-FC4C-4B98-B2A4-DF762ED946F2}" dt="2019-04-02T17:26:05.654" v="1221" actId="790"/>
        <pc:sldMkLst>
          <pc:docMk/>
          <pc:sldMk cId="1033304354" sldId="278"/>
        </pc:sldMkLst>
        <pc:spChg chg="del mod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2" creationId="{3FE0C889-355A-49CE-9612-F2D9491A57EB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3" creationId="{6972C1AA-C5EB-401E-B983-940BC0A952AA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4" creationId="{DF000086-7022-44B9-AD7B-9447CA124F36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5" creationId="{D579B85C-F73C-4AEE-841A-4DF0F9A1EF35}"/>
          </ac:spMkLst>
        </pc:spChg>
        <pc:spChg chg="add mod">
          <ac:chgData name="Thomas Stensitzki" userId="75cafe6b-2f2a-469b-85c4-eec3b9c972ba" providerId="ADAL" clId="{06E14ABF-FC4C-4B98-B2A4-DF762ED946F2}" dt="2019-04-02T17:26:05.647" v="1218" actId="790"/>
          <ac:spMkLst>
            <pc:docMk/>
            <pc:sldMk cId="1033304354" sldId="278"/>
            <ac:spMk id="6" creationId="{7BA3357F-020A-45B8-B458-830AF2948D01}"/>
          </ac:spMkLst>
        </pc:spChg>
        <pc:spChg chg="add mod">
          <ac:chgData name="Thomas Stensitzki" userId="75cafe6b-2f2a-469b-85c4-eec3b9c972ba" providerId="ADAL" clId="{06E14ABF-FC4C-4B98-B2A4-DF762ED946F2}" dt="2019-04-02T17:26:05.648" v="1219"/>
          <ac:spMkLst>
            <pc:docMk/>
            <pc:sldMk cId="1033304354" sldId="278"/>
            <ac:spMk id="9" creationId="{DA87809A-2B26-449A-B3AA-5104844FA68C}"/>
          </ac:spMkLst>
        </pc:spChg>
        <pc:picChg chg="add mod">
          <ac:chgData name="Thomas Stensitzki" userId="75cafe6b-2f2a-469b-85c4-eec3b9c972ba" providerId="ADAL" clId="{06E14ABF-FC4C-4B98-B2A4-DF762ED946F2}" dt="2019-03-31T15:22:42.160" v="760" actId="12788"/>
          <ac:picMkLst>
            <pc:docMk/>
            <pc:sldMk cId="1033304354" sldId="278"/>
            <ac:picMk id="7" creationId="{4E95E7AF-4650-4584-BB61-CF8017F63C8C}"/>
          </ac:picMkLst>
        </pc:picChg>
        <pc:picChg chg="add del">
          <ac:chgData name="Thomas Stensitzki" userId="75cafe6b-2f2a-469b-85c4-eec3b9c972ba" providerId="ADAL" clId="{06E14ABF-FC4C-4B98-B2A4-DF762ED946F2}" dt="2019-03-31T15:21:08.182" v="731"/>
          <ac:picMkLst>
            <pc:docMk/>
            <pc:sldMk cId="1033304354" sldId="278"/>
            <ac:picMk id="8" creationId="{380CBA5E-C381-47E4-9F48-5C22D6470C44}"/>
          </ac:picMkLst>
        </pc:picChg>
      </pc:sldChg>
      <pc:sldChg chg="modSp modNotes">
        <pc:chgData name="Thomas Stensitzki" userId="75cafe6b-2f2a-469b-85c4-eec3b9c972ba" providerId="ADAL" clId="{06E14ABF-FC4C-4B98-B2A4-DF762ED946F2}" dt="2019-04-02T17:26:05.004" v="975" actId="790"/>
        <pc:sldMkLst>
          <pc:docMk/>
          <pc:sldMk cId="1150042010" sldId="279"/>
        </pc:sldMkLst>
        <pc:spChg chg="mod">
          <ac:chgData name="Thomas Stensitzki" userId="75cafe6b-2f2a-469b-85c4-eec3b9c972ba" providerId="ADAL" clId="{06E14ABF-FC4C-4B98-B2A4-DF762ED946F2}" dt="2019-04-02T17:26:04.985" v="969" actId="790"/>
          <ac:spMkLst>
            <pc:docMk/>
            <pc:sldMk cId="1150042010" sldId="279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86" v="970" actId="790"/>
          <ac:spMkLst>
            <pc:docMk/>
            <pc:sldMk cId="1150042010" sldId="279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89" v="971"/>
          <ac:spMkLst>
            <pc:docMk/>
            <pc:sldMk cId="1150042010" sldId="279"/>
            <ac:spMk id="5" creationId="{90C552DC-66FE-45F6-BC1C-A305A795B23A}"/>
          </ac:spMkLst>
        </pc:spChg>
        <pc:spChg chg="mod">
          <ac:chgData name="Thomas Stensitzki" userId="75cafe6b-2f2a-469b-85c4-eec3b9c972ba" providerId="ADAL" clId="{06E14ABF-FC4C-4B98-B2A4-DF762ED946F2}" dt="2019-04-02T17:26:04.992" v="972"/>
          <ac:spMkLst>
            <pc:docMk/>
            <pc:sldMk cId="1150042010" sldId="279"/>
            <ac:spMk id="6" creationId="{4FD8AAAD-B130-4BF0-A786-B466E0825BE1}"/>
          </ac:spMkLst>
        </pc:spChg>
        <pc:spChg chg="mod">
          <ac:chgData name="Thomas Stensitzki" userId="75cafe6b-2f2a-469b-85c4-eec3b9c972ba" providerId="ADAL" clId="{06E14ABF-FC4C-4B98-B2A4-DF762ED946F2}" dt="2019-04-02T17:26:04.996" v="973"/>
          <ac:spMkLst>
            <pc:docMk/>
            <pc:sldMk cId="1150042010" sldId="279"/>
            <ac:spMk id="7" creationId="{71881F34-8302-4ABF-A8CB-2BA5A860A19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014" v="979" actId="790"/>
        <pc:sldMkLst>
          <pc:docMk/>
          <pc:sldMk cId="1671032201" sldId="280"/>
        </pc:sldMkLst>
        <pc:spChg chg="mod">
          <ac:chgData name="Thomas Stensitzki" userId="75cafe6b-2f2a-469b-85c4-eec3b9c972ba" providerId="ADAL" clId="{06E14ABF-FC4C-4B98-B2A4-DF762ED946F2}" dt="2019-04-02T17:26:05.006" v="976" actId="790"/>
          <ac:spMkLst>
            <pc:docMk/>
            <pc:sldMk cId="1671032201" sldId="280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08" v="977" actId="790"/>
          <ac:spMkLst>
            <pc:docMk/>
            <pc:sldMk cId="1671032201" sldId="280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023" v="983" actId="790"/>
        <pc:sldMkLst>
          <pc:docMk/>
          <pc:sldMk cId="1132588270" sldId="281"/>
        </pc:sldMkLst>
        <pc:spChg chg="mod">
          <ac:chgData name="Thomas Stensitzki" userId="75cafe6b-2f2a-469b-85c4-eec3b9c972ba" providerId="ADAL" clId="{06E14ABF-FC4C-4B98-B2A4-DF762ED946F2}" dt="2019-04-02T17:26:05.016" v="980" actId="790"/>
          <ac:spMkLst>
            <pc:docMk/>
            <pc:sldMk cId="1132588270" sldId="281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18" v="981" actId="790"/>
          <ac:spMkLst>
            <pc:docMk/>
            <pc:sldMk cId="1132588270" sldId="281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9:52:52.175" v="3021" actId="20577"/>
        <pc:sldMkLst>
          <pc:docMk/>
          <pc:sldMk cId="2076058816" sldId="282"/>
        </pc:sldMkLst>
        <pc:spChg chg="mod">
          <ac:chgData name="Thomas Stensitzki" userId="75cafe6b-2f2a-469b-85c4-eec3b9c972ba" providerId="ADAL" clId="{06E14ABF-FC4C-4B98-B2A4-DF762ED946F2}" dt="2019-04-02T17:26:05.025" v="984" actId="790"/>
          <ac:spMkLst>
            <pc:docMk/>
            <pc:sldMk cId="2076058816" sldId="282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28" v="985" actId="790"/>
          <ac:spMkLst>
            <pc:docMk/>
            <pc:sldMk cId="2076058816" sldId="282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30" v="986" actId="790"/>
          <ac:spMkLst>
            <pc:docMk/>
            <pc:sldMk cId="2076058816" sldId="282"/>
            <ac:spMk id="6" creationId="{F62F7DE0-EF4D-441A-8DBF-3C5FA0E95556}"/>
          </ac:spMkLst>
        </pc:spChg>
        <pc:spChg chg="mod">
          <ac:chgData name="Thomas Stensitzki" userId="75cafe6b-2f2a-469b-85c4-eec3b9c972ba" providerId="ADAL" clId="{06E14ABF-FC4C-4B98-B2A4-DF762ED946F2}" dt="2019-04-02T17:26:05.033" v="987" actId="790"/>
          <ac:spMkLst>
            <pc:docMk/>
            <pc:sldMk cId="2076058816" sldId="282"/>
            <ac:spMk id="7" creationId="{76DCBBCF-1698-4412-A8E8-5ABB5CE0FA16}"/>
          </ac:spMkLst>
        </pc:spChg>
        <pc:spChg chg="mod">
          <ac:chgData name="Thomas Stensitzki" userId="75cafe6b-2f2a-469b-85c4-eec3b9c972ba" providerId="ADAL" clId="{06E14ABF-FC4C-4B98-B2A4-DF762ED946F2}" dt="2019-04-02T17:26:05.035" v="988" actId="790"/>
          <ac:spMkLst>
            <pc:docMk/>
            <pc:sldMk cId="2076058816" sldId="282"/>
            <ac:spMk id="8" creationId="{D75C25B8-B5FE-4606-AAF2-F0A06373FF48}"/>
          </ac:spMkLst>
        </pc:spChg>
        <pc:spChg chg="mod">
          <ac:chgData name="Thomas Stensitzki" userId="75cafe6b-2f2a-469b-85c4-eec3b9c972ba" providerId="ADAL" clId="{06E14ABF-FC4C-4B98-B2A4-DF762ED946F2}" dt="2019-04-02T17:26:05.037" v="989" actId="790"/>
          <ac:spMkLst>
            <pc:docMk/>
            <pc:sldMk cId="2076058816" sldId="282"/>
            <ac:spMk id="9" creationId="{A4CF482A-C2A7-4681-85C0-2F782B607DEF}"/>
          </ac:spMkLst>
        </pc:spChg>
        <pc:spChg chg="mod">
          <ac:chgData name="Thomas Stensitzki" userId="75cafe6b-2f2a-469b-85c4-eec3b9c972ba" providerId="ADAL" clId="{06E14ABF-FC4C-4B98-B2A4-DF762ED946F2}" dt="2019-04-02T17:26:05.040" v="990" actId="790"/>
          <ac:spMkLst>
            <pc:docMk/>
            <pc:sldMk cId="2076058816" sldId="282"/>
            <ac:spMk id="11" creationId="{8F23A59F-C109-4046-8B1B-667DD269D7B0}"/>
          </ac:spMkLst>
        </pc:spChg>
        <pc:spChg chg="mod">
          <ac:chgData name="Thomas Stensitzki" userId="75cafe6b-2f2a-469b-85c4-eec3b9c972ba" providerId="ADAL" clId="{06E14ABF-FC4C-4B98-B2A4-DF762ED946F2}" dt="2019-04-02T17:26:05.042" v="991" actId="790"/>
          <ac:spMkLst>
            <pc:docMk/>
            <pc:sldMk cId="2076058816" sldId="282"/>
            <ac:spMk id="12" creationId="{5542FB95-3F1D-4B69-B6E2-FC3390C4519B}"/>
          </ac:spMkLst>
        </pc:spChg>
        <pc:spChg chg="mod">
          <ac:chgData name="Thomas Stensitzki" userId="75cafe6b-2f2a-469b-85c4-eec3b9c972ba" providerId="ADAL" clId="{06E14ABF-FC4C-4B98-B2A4-DF762ED946F2}" dt="2019-04-02T17:26:05.044" v="992" actId="790"/>
          <ac:spMkLst>
            <pc:docMk/>
            <pc:sldMk cId="2076058816" sldId="282"/>
            <ac:spMk id="16" creationId="{82D42801-718B-4B9E-B02F-A6F39ECD0BF3}"/>
          </ac:spMkLst>
        </pc:spChg>
        <pc:spChg chg="mod">
          <ac:chgData name="Thomas Stensitzki" userId="75cafe6b-2f2a-469b-85c4-eec3b9c972ba" providerId="ADAL" clId="{06E14ABF-FC4C-4B98-B2A4-DF762ED946F2}" dt="2019-04-02T17:26:05.046" v="993" actId="790"/>
          <ac:spMkLst>
            <pc:docMk/>
            <pc:sldMk cId="2076058816" sldId="282"/>
            <ac:spMk id="17" creationId="{DA0B2A54-0A9B-48F0-A584-01D211B1C208}"/>
          </ac:spMkLst>
        </pc:spChg>
        <pc:spChg chg="mod">
          <ac:chgData name="Thomas Stensitzki" userId="75cafe6b-2f2a-469b-85c4-eec3b9c972ba" providerId="ADAL" clId="{06E14ABF-FC4C-4B98-B2A4-DF762ED946F2}" dt="2019-04-02T17:26:05.048" v="994" actId="790"/>
          <ac:spMkLst>
            <pc:docMk/>
            <pc:sldMk cId="2076058816" sldId="282"/>
            <ac:spMk id="18" creationId="{396DFEC8-32C3-4816-A9EB-9F94CFB03096}"/>
          </ac:spMkLst>
        </pc:spChg>
        <pc:spChg chg="mod">
          <ac:chgData name="Thomas Stensitzki" userId="75cafe6b-2f2a-469b-85c4-eec3b9c972ba" providerId="ADAL" clId="{06E14ABF-FC4C-4B98-B2A4-DF762ED946F2}" dt="2019-04-02T17:26:05.050" v="995" actId="790"/>
          <ac:spMkLst>
            <pc:docMk/>
            <pc:sldMk cId="2076058816" sldId="282"/>
            <ac:spMk id="19" creationId="{2E1AED60-3A22-485C-8D86-E0B6BE4BEDA4}"/>
          </ac:spMkLst>
        </pc:spChg>
        <pc:spChg chg="mod">
          <ac:chgData name="Thomas Stensitzki" userId="75cafe6b-2f2a-469b-85c4-eec3b9c972ba" providerId="ADAL" clId="{06E14ABF-FC4C-4B98-B2A4-DF762ED946F2}" dt="2019-04-02T17:26:05.052" v="996" actId="790"/>
          <ac:spMkLst>
            <pc:docMk/>
            <pc:sldMk cId="2076058816" sldId="282"/>
            <ac:spMk id="20" creationId="{49278B65-994E-45A5-8AFF-3E76DD9C4E8F}"/>
          </ac:spMkLst>
        </pc:spChg>
        <pc:spChg chg="mod">
          <ac:chgData name="Thomas Stensitzki" userId="75cafe6b-2f2a-469b-85c4-eec3b9c972ba" providerId="ADAL" clId="{06E14ABF-FC4C-4B98-B2A4-DF762ED946F2}" dt="2019-04-02T17:26:05.054" v="997" actId="790"/>
          <ac:spMkLst>
            <pc:docMk/>
            <pc:sldMk cId="2076058816" sldId="282"/>
            <ac:spMk id="21" creationId="{88898C4E-D74B-4F28-B7F6-EC28D824CCEB}"/>
          </ac:spMkLst>
        </pc:spChg>
        <pc:spChg chg="mod">
          <ac:chgData name="Thomas Stensitzki" userId="75cafe6b-2f2a-469b-85c4-eec3b9c972ba" providerId="ADAL" clId="{06E14ABF-FC4C-4B98-B2A4-DF762ED946F2}" dt="2019-04-02T17:26:05.056" v="998" actId="790"/>
          <ac:spMkLst>
            <pc:docMk/>
            <pc:sldMk cId="2076058816" sldId="282"/>
            <ac:spMk id="23" creationId="{49DE02D2-6748-4EE7-AD30-C4DB65312E5F}"/>
          </ac:spMkLst>
        </pc:spChg>
        <pc:spChg chg="mod">
          <ac:chgData name="Thomas Stensitzki" userId="75cafe6b-2f2a-469b-85c4-eec3b9c972ba" providerId="ADAL" clId="{06E14ABF-FC4C-4B98-B2A4-DF762ED946F2}" dt="2019-04-02T17:26:05.060" v="999" actId="790"/>
          <ac:spMkLst>
            <pc:docMk/>
            <pc:sldMk cId="2076058816" sldId="282"/>
            <ac:spMk id="24" creationId="{DB3D38A3-127B-4F9D-89BC-00350A649331}"/>
          </ac:spMkLst>
        </pc:spChg>
        <pc:spChg chg="mod">
          <ac:chgData name="Thomas Stensitzki" userId="75cafe6b-2f2a-469b-85c4-eec3b9c972ba" providerId="ADAL" clId="{06E14ABF-FC4C-4B98-B2A4-DF762ED946F2}" dt="2019-04-02T17:26:05.062" v="1000" actId="790"/>
          <ac:spMkLst>
            <pc:docMk/>
            <pc:sldMk cId="2076058816" sldId="282"/>
            <ac:spMk id="25" creationId="{5BAB1F16-2015-4D89-BE8A-007F6662A732}"/>
          </ac:spMkLst>
        </pc:spChg>
        <pc:spChg chg="mod">
          <ac:chgData name="Thomas Stensitzki" userId="75cafe6b-2f2a-469b-85c4-eec3b9c972ba" providerId="ADAL" clId="{06E14ABF-FC4C-4B98-B2A4-DF762ED946F2}" dt="2019-04-02T17:26:05.064" v="1001" actId="790"/>
          <ac:spMkLst>
            <pc:docMk/>
            <pc:sldMk cId="2076058816" sldId="282"/>
            <ac:spMk id="26" creationId="{AD8D6003-2C10-43BD-8707-D1534FC04D52}"/>
          </ac:spMkLst>
        </pc:spChg>
        <pc:spChg chg="mod">
          <ac:chgData name="Thomas Stensitzki" userId="75cafe6b-2f2a-469b-85c4-eec3b9c972ba" providerId="ADAL" clId="{06E14ABF-FC4C-4B98-B2A4-DF762ED946F2}" dt="2019-04-02T17:26:05.066" v="1002" actId="790"/>
          <ac:spMkLst>
            <pc:docMk/>
            <pc:sldMk cId="2076058816" sldId="282"/>
            <ac:spMk id="28" creationId="{98338748-2107-4BB3-BC6A-7A164AEFB071}"/>
          </ac:spMkLst>
        </pc:spChg>
        <pc:spChg chg="mod">
          <ac:chgData name="Thomas Stensitzki" userId="75cafe6b-2f2a-469b-85c4-eec3b9c972ba" providerId="ADAL" clId="{06E14ABF-FC4C-4B98-B2A4-DF762ED946F2}" dt="2019-04-02T17:26:05.068" v="1003" actId="790"/>
          <ac:spMkLst>
            <pc:docMk/>
            <pc:sldMk cId="2076058816" sldId="282"/>
            <ac:spMk id="29" creationId="{8B8EF847-031A-4DF2-88BD-8FC26FBC1F1A}"/>
          </ac:spMkLst>
        </pc:spChg>
        <pc:spChg chg="mod">
          <ac:chgData name="Thomas Stensitzki" userId="75cafe6b-2f2a-469b-85c4-eec3b9c972ba" providerId="ADAL" clId="{06E14ABF-FC4C-4B98-B2A4-DF762ED946F2}" dt="2019-04-02T17:26:05.070" v="1004" actId="790"/>
          <ac:spMkLst>
            <pc:docMk/>
            <pc:sldMk cId="2076058816" sldId="282"/>
            <ac:spMk id="33" creationId="{D5D450FA-28D8-4E59-A96F-FD020227EC24}"/>
          </ac:spMkLst>
        </pc:spChg>
        <pc:spChg chg="mod">
          <ac:chgData name="Thomas Stensitzki" userId="75cafe6b-2f2a-469b-85c4-eec3b9c972ba" providerId="ADAL" clId="{06E14ABF-FC4C-4B98-B2A4-DF762ED946F2}" dt="2019-04-02T17:26:05.072" v="1005" actId="790"/>
          <ac:spMkLst>
            <pc:docMk/>
            <pc:sldMk cId="2076058816" sldId="282"/>
            <ac:spMk id="34" creationId="{9C35CE43-7AB8-44BC-B35B-37EDE8CE88A6}"/>
          </ac:spMkLst>
        </pc:spChg>
        <pc:spChg chg="mod">
          <ac:chgData name="Thomas Stensitzki" userId="75cafe6b-2f2a-469b-85c4-eec3b9c972ba" providerId="ADAL" clId="{06E14ABF-FC4C-4B98-B2A4-DF762ED946F2}" dt="2019-04-02T17:26:05.075" v="1006" actId="790"/>
          <ac:spMkLst>
            <pc:docMk/>
            <pc:sldMk cId="2076058816" sldId="282"/>
            <ac:spMk id="35" creationId="{6A638919-5A09-4503-93FD-8BC21AC1C029}"/>
          </ac:spMkLst>
        </pc:spChg>
        <pc:spChg chg="mod">
          <ac:chgData name="Thomas Stensitzki" userId="75cafe6b-2f2a-469b-85c4-eec3b9c972ba" providerId="ADAL" clId="{06E14ABF-FC4C-4B98-B2A4-DF762ED946F2}" dt="2019-04-02T17:26:05.077" v="1007" actId="790"/>
          <ac:spMkLst>
            <pc:docMk/>
            <pc:sldMk cId="2076058816" sldId="282"/>
            <ac:spMk id="36" creationId="{31291AD7-42E1-4B97-B473-D91F0775BDB6}"/>
          </ac:spMkLst>
        </pc:spChg>
        <pc:spChg chg="mod">
          <ac:chgData name="Thomas Stensitzki" userId="75cafe6b-2f2a-469b-85c4-eec3b9c972ba" providerId="ADAL" clId="{06E14ABF-FC4C-4B98-B2A4-DF762ED946F2}" dt="2019-04-02T17:26:05.079" v="1008" actId="790"/>
          <ac:spMkLst>
            <pc:docMk/>
            <pc:sldMk cId="2076058816" sldId="282"/>
            <ac:spMk id="37" creationId="{3F650D61-57EF-4706-A8F8-AE278FCC1261}"/>
          </ac:spMkLst>
        </pc:spChg>
        <pc:spChg chg="mod">
          <ac:chgData name="Thomas Stensitzki" userId="75cafe6b-2f2a-469b-85c4-eec3b9c972ba" providerId="ADAL" clId="{06E14ABF-FC4C-4B98-B2A4-DF762ED946F2}" dt="2019-04-02T17:26:05.081" v="1009" actId="790"/>
          <ac:spMkLst>
            <pc:docMk/>
            <pc:sldMk cId="2076058816" sldId="282"/>
            <ac:spMk id="38" creationId="{DECD7FCF-EB08-4122-8A1B-F1B63E45EA58}"/>
          </ac:spMkLst>
        </pc:spChg>
        <pc:spChg chg="mod">
          <ac:chgData name="Thomas Stensitzki" userId="75cafe6b-2f2a-469b-85c4-eec3b9c972ba" providerId="ADAL" clId="{06E14ABF-FC4C-4B98-B2A4-DF762ED946F2}" dt="2019-04-02T17:26:05.082" v="1010" actId="790"/>
          <ac:spMkLst>
            <pc:docMk/>
            <pc:sldMk cId="2076058816" sldId="282"/>
            <ac:spMk id="40" creationId="{781B81E8-CED1-42DB-B223-9EDB5CA114D3}"/>
          </ac:spMkLst>
        </pc:spChg>
        <pc:spChg chg="mod">
          <ac:chgData name="Thomas Stensitzki" userId="75cafe6b-2f2a-469b-85c4-eec3b9c972ba" providerId="ADAL" clId="{06E14ABF-FC4C-4B98-B2A4-DF762ED946F2}" dt="2019-04-02T17:26:05.084" v="1011" actId="790"/>
          <ac:spMkLst>
            <pc:docMk/>
            <pc:sldMk cId="2076058816" sldId="282"/>
            <ac:spMk id="41" creationId="{FB7D20D8-3C3F-4806-ACBA-E628FF971B08}"/>
          </ac:spMkLst>
        </pc:spChg>
        <pc:spChg chg="mod">
          <ac:chgData name="Thomas Stensitzki" userId="75cafe6b-2f2a-469b-85c4-eec3b9c972ba" providerId="ADAL" clId="{06E14ABF-FC4C-4B98-B2A4-DF762ED946F2}" dt="2019-04-02T17:26:05.086" v="1012" actId="790"/>
          <ac:spMkLst>
            <pc:docMk/>
            <pc:sldMk cId="2076058816" sldId="282"/>
            <ac:spMk id="42" creationId="{06DD31FF-6956-4F84-8D30-8070BD980457}"/>
          </ac:spMkLst>
        </pc:spChg>
        <pc:spChg chg="mod">
          <ac:chgData name="Thomas Stensitzki" userId="75cafe6b-2f2a-469b-85c4-eec3b9c972ba" providerId="ADAL" clId="{06E14ABF-FC4C-4B98-B2A4-DF762ED946F2}" dt="2019-04-02T17:26:05.088" v="1013" actId="790"/>
          <ac:spMkLst>
            <pc:docMk/>
            <pc:sldMk cId="2076058816" sldId="282"/>
            <ac:spMk id="43" creationId="{4F89ED60-1566-4817-9981-0A78D579EBDB}"/>
          </ac:spMkLst>
        </pc:spChg>
        <pc:spChg chg="mod">
          <ac:chgData name="Thomas Stensitzki" userId="75cafe6b-2f2a-469b-85c4-eec3b9c972ba" providerId="ADAL" clId="{06E14ABF-FC4C-4B98-B2A4-DF762ED946F2}" dt="2019-04-02T17:26:05.091" v="1014" actId="790"/>
          <ac:spMkLst>
            <pc:docMk/>
            <pc:sldMk cId="2076058816" sldId="282"/>
            <ac:spMk id="45" creationId="{5B09679F-48D1-4721-9CBF-9F92DCBFBFCA}"/>
          </ac:spMkLst>
        </pc:spChg>
        <pc:spChg chg="mod">
          <ac:chgData name="Thomas Stensitzki" userId="75cafe6b-2f2a-469b-85c4-eec3b9c972ba" providerId="ADAL" clId="{06E14ABF-FC4C-4B98-B2A4-DF762ED946F2}" dt="2019-04-02T17:26:05.092" v="1015" actId="790"/>
          <ac:spMkLst>
            <pc:docMk/>
            <pc:sldMk cId="2076058816" sldId="282"/>
            <ac:spMk id="46" creationId="{DE52D1CD-115F-4A21-B7E5-B2A105C68E0E}"/>
          </ac:spMkLst>
        </pc:spChg>
        <pc:spChg chg="mod">
          <ac:chgData name="Thomas Stensitzki" userId="75cafe6b-2f2a-469b-85c4-eec3b9c972ba" providerId="ADAL" clId="{06E14ABF-FC4C-4B98-B2A4-DF762ED946F2}" dt="2019-04-02T17:26:05.095" v="1016" actId="790"/>
          <ac:spMkLst>
            <pc:docMk/>
            <pc:sldMk cId="2076058816" sldId="282"/>
            <ac:spMk id="50" creationId="{5B95665D-10AA-49D4-A0A9-F9060D2DA492}"/>
          </ac:spMkLst>
        </pc:spChg>
        <pc:spChg chg="mod">
          <ac:chgData name="Thomas Stensitzki" userId="75cafe6b-2f2a-469b-85c4-eec3b9c972ba" providerId="ADAL" clId="{06E14ABF-FC4C-4B98-B2A4-DF762ED946F2}" dt="2019-04-02T17:26:05.097" v="1017" actId="790"/>
          <ac:spMkLst>
            <pc:docMk/>
            <pc:sldMk cId="2076058816" sldId="282"/>
            <ac:spMk id="51" creationId="{0D8805D8-B719-47DD-A4E5-047C98F400D5}"/>
          </ac:spMkLst>
        </pc:spChg>
        <pc:spChg chg="mod">
          <ac:chgData name="Thomas Stensitzki" userId="75cafe6b-2f2a-469b-85c4-eec3b9c972ba" providerId="ADAL" clId="{06E14ABF-FC4C-4B98-B2A4-DF762ED946F2}" dt="2019-04-02T17:26:05.098" v="1018" actId="790"/>
          <ac:spMkLst>
            <pc:docMk/>
            <pc:sldMk cId="2076058816" sldId="282"/>
            <ac:spMk id="52" creationId="{7C20E34F-687E-41C9-9A72-B64C84167C6A}"/>
          </ac:spMkLst>
        </pc:spChg>
        <pc:spChg chg="mod">
          <ac:chgData name="Thomas Stensitzki" userId="75cafe6b-2f2a-469b-85c4-eec3b9c972ba" providerId="ADAL" clId="{06E14ABF-FC4C-4B98-B2A4-DF762ED946F2}" dt="2019-04-02T17:26:05.101" v="1019" actId="790"/>
          <ac:spMkLst>
            <pc:docMk/>
            <pc:sldMk cId="2076058816" sldId="282"/>
            <ac:spMk id="53" creationId="{F6D1AD72-B419-4BD2-B735-2B615CC51905}"/>
          </ac:spMkLst>
        </pc:spChg>
        <pc:spChg chg="mod">
          <ac:chgData name="Thomas Stensitzki" userId="75cafe6b-2f2a-469b-85c4-eec3b9c972ba" providerId="ADAL" clId="{06E14ABF-FC4C-4B98-B2A4-DF762ED946F2}" dt="2019-04-02T17:26:05.102" v="1020" actId="790"/>
          <ac:spMkLst>
            <pc:docMk/>
            <pc:sldMk cId="2076058816" sldId="282"/>
            <ac:spMk id="54" creationId="{59D06D6B-8480-4215-B570-5503A0D2655C}"/>
          </ac:spMkLst>
        </pc:spChg>
        <pc:spChg chg="mod">
          <ac:chgData name="Thomas Stensitzki" userId="75cafe6b-2f2a-469b-85c4-eec3b9c972ba" providerId="ADAL" clId="{06E14ABF-FC4C-4B98-B2A4-DF762ED946F2}" dt="2019-04-02T17:26:05.104" v="1021" actId="790"/>
          <ac:spMkLst>
            <pc:docMk/>
            <pc:sldMk cId="2076058816" sldId="282"/>
            <ac:spMk id="55" creationId="{425F537C-74F2-42B1-A79A-6C2CEA2970FB}"/>
          </ac:spMkLst>
        </pc:spChg>
        <pc:spChg chg="mod">
          <ac:chgData name="Thomas Stensitzki" userId="75cafe6b-2f2a-469b-85c4-eec3b9c972ba" providerId="ADAL" clId="{06E14ABF-FC4C-4B98-B2A4-DF762ED946F2}" dt="2019-04-02T17:26:05.107" v="1022" actId="790"/>
          <ac:spMkLst>
            <pc:docMk/>
            <pc:sldMk cId="2076058816" sldId="282"/>
            <ac:spMk id="57" creationId="{F0D23161-135A-4AF1-BB75-76C5570F5AE3}"/>
          </ac:spMkLst>
        </pc:spChg>
        <pc:spChg chg="mod ord">
          <ac:chgData name="Thomas Stensitzki" userId="75cafe6b-2f2a-469b-85c4-eec3b9c972ba" providerId="ADAL" clId="{06E14ABF-FC4C-4B98-B2A4-DF762ED946F2}" dt="2019-04-02T19:51:02.407" v="2972" actId="20577"/>
          <ac:spMkLst>
            <pc:docMk/>
            <pc:sldMk cId="2076058816" sldId="282"/>
            <ac:spMk id="58" creationId="{08A83926-97E0-4CB6-BC56-C92F6B3769A9}"/>
          </ac:spMkLst>
        </pc:spChg>
        <pc:spChg chg="mod">
          <ac:chgData name="Thomas Stensitzki" userId="75cafe6b-2f2a-469b-85c4-eec3b9c972ba" providerId="ADAL" clId="{06E14ABF-FC4C-4B98-B2A4-DF762ED946F2}" dt="2019-04-02T17:26:05.112" v="1024" actId="790"/>
          <ac:spMkLst>
            <pc:docMk/>
            <pc:sldMk cId="2076058816" sldId="282"/>
            <ac:spMk id="59" creationId="{F4249D3C-4940-4FF7-AA8A-2C36009823B5}"/>
          </ac:spMkLst>
        </pc:spChg>
        <pc:spChg chg="mod">
          <ac:chgData name="Thomas Stensitzki" userId="75cafe6b-2f2a-469b-85c4-eec3b9c972ba" providerId="ADAL" clId="{06E14ABF-FC4C-4B98-B2A4-DF762ED946F2}" dt="2019-04-02T19:52:19.600" v="2985" actId="6549"/>
          <ac:spMkLst>
            <pc:docMk/>
            <pc:sldMk cId="2076058816" sldId="282"/>
            <ac:spMk id="60" creationId="{81C9ADC1-2CE7-4682-A319-6793A5EBA916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2" creationId="{24341E35-70FD-4129-9826-7F588729EDA1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3" creationId="{10759A39-52EB-4C11-9484-7B43D00FB933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7" creationId="{55C124C0-2B5D-403A-85A0-34320BB20EC6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8" creationId="{9678DCC1-5B6F-4DC1-8286-5B02F7CA789B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9" creationId="{B8E5794B-BCD0-4F5E-93B4-F68EF2C964BC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0" creationId="{429BA588-CFFD-4779-B12C-F1058B9F3609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1" creationId="{1E156875-94A0-47DE-9825-76ED3A9F09EB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2" creationId="{E767ED92-B7DC-423F-9511-1D5F8C3D3574}"/>
          </ac:spMkLst>
        </pc:spChg>
        <pc:spChg chg="mod">
          <ac:chgData name="Thomas Stensitzki" userId="75cafe6b-2f2a-469b-85c4-eec3b9c972ba" providerId="ADAL" clId="{06E14ABF-FC4C-4B98-B2A4-DF762ED946F2}" dt="2019-04-02T17:26:05.131" v="1034"/>
          <ac:spMkLst>
            <pc:docMk/>
            <pc:sldMk cId="2076058816" sldId="282"/>
            <ac:spMk id="73" creationId="{6B8A3B69-F8E5-403B-9A81-038D693ABD23}"/>
          </ac:spMkLst>
        </pc:spChg>
        <pc:spChg chg="mod">
          <ac:chgData name="Thomas Stensitzki" userId="75cafe6b-2f2a-469b-85c4-eec3b9c972ba" providerId="ADAL" clId="{06E14ABF-FC4C-4B98-B2A4-DF762ED946F2}" dt="2019-04-02T19:52:52.175" v="3021" actId="20577"/>
          <ac:spMkLst>
            <pc:docMk/>
            <pc:sldMk cId="2076058816" sldId="282"/>
            <ac:spMk id="74" creationId="{B0534B11-814E-4AD9-AE56-DBC2FED68A07}"/>
          </ac:spMkLst>
        </pc:spChg>
        <pc:spChg chg="mod">
          <ac:chgData name="Thomas Stensitzki" userId="75cafe6b-2f2a-469b-85c4-eec3b9c972ba" providerId="ADAL" clId="{06E14ABF-FC4C-4B98-B2A4-DF762ED946F2}" dt="2019-04-02T17:26:05.138" v="1036" actId="790"/>
          <ac:spMkLst>
            <pc:docMk/>
            <pc:sldMk cId="2076058816" sldId="282"/>
            <ac:spMk id="76" creationId="{2FF4152D-4100-44A5-B7FF-7C5583EEB81C}"/>
          </ac:spMkLst>
        </pc:spChg>
        <pc:spChg chg="mod">
          <ac:chgData name="Thomas Stensitzki" userId="75cafe6b-2f2a-469b-85c4-eec3b9c972ba" providerId="ADAL" clId="{06E14ABF-FC4C-4B98-B2A4-DF762ED946F2}" dt="2019-04-02T17:26:05.141" v="1037" actId="790"/>
          <ac:spMkLst>
            <pc:docMk/>
            <pc:sldMk cId="2076058816" sldId="282"/>
            <ac:spMk id="77" creationId="{BC269410-790F-4A5A-9013-FE886CD3B3C9}"/>
          </ac:spMkLst>
        </pc:spChg>
        <pc:spChg chg="mod">
          <ac:chgData name="Thomas Stensitzki" userId="75cafe6b-2f2a-469b-85c4-eec3b9c972ba" providerId="ADAL" clId="{06E14ABF-FC4C-4B98-B2A4-DF762ED946F2}" dt="2019-04-02T17:26:05.146" v="1040" actId="790"/>
          <ac:spMkLst>
            <pc:docMk/>
            <pc:sldMk cId="2076058816" sldId="282"/>
            <ac:spMk id="80" creationId="{124AF9B2-DF95-4B77-9A73-34597B088C3F}"/>
          </ac:spMkLst>
        </pc:spChg>
        <pc:spChg chg="mod">
          <ac:chgData name="Thomas Stensitzki" userId="75cafe6b-2f2a-469b-85c4-eec3b9c972ba" providerId="ADAL" clId="{06E14ABF-FC4C-4B98-B2A4-DF762ED946F2}" dt="2019-04-02T17:26:05.142" v="1038" actId="790"/>
          <ac:spMkLst>
            <pc:docMk/>
            <pc:sldMk cId="2076058816" sldId="282"/>
            <ac:spMk id="81" creationId="{237464FC-322F-4F59-9369-3EBBE6AC0979}"/>
          </ac:spMkLst>
        </pc:spChg>
        <pc:spChg chg="mod">
          <ac:chgData name="Thomas Stensitzki" userId="75cafe6b-2f2a-469b-85c4-eec3b9c972ba" providerId="ADAL" clId="{06E14ABF-FC4C-4B98-B2A4-DF762ED946F2}" dt="2019-04-02T17:26:05.144" v="1039" actId="790"/>
          <ac:spMkLst>
            <pc:docMk/>
            <pc:sldMk cId="2076058816" sldId="282"/>
            <ac:spMk id="82" creationId="{5D90401D-74B5-45B8-B40F-92D50D702935}"/>
          </ac:spMkLst>
        </pc:spChg>
        <pc:spChg chg="mod">
          <ac:chgData name="Thomas Stensitzki" userId="75cafe6b-2f2a-469b-85c4-eec3b9c972ba" providerId="ADAL" clId="{06E14ABF-FC4C-4B98-B2A4-DF762ED946F2}" dt="2019-04-02T19:50:03.782" v="2949" actId="14100"/>
          <ac:spMkLst>
            <pc:docMk/>
            <pc:sldMk cId="2076058816" sldId="282"/>
            <ac:spMk id="84" creationId="{61CE350B-0A94-40FA-B41F-C21330060B0D}"/>
          </ac:spMkLst>
        </pc:spChg>
        <pc:spChg chg="mod">
          <ac:chgData name="Thomas Stensitzki" userId="75cafe6b-2f2a-469b-85c4-eec3b9c972ba" providerId="ADAL" clId="{06E14ABF-FC4C-4B98-B2A4-DF762ED946F2}" dt="2019-04-02T17:26:05.160" v="1045"/>
          <ac:spMkLst>
            <pc:docMk/>
            <pc:sldMk cId="2076058816" sldId="282"/>
            <ac:spMk id="85" creationId="{F1416382-28DA-4559-8ABC-B25685AE9050}"/>
          </ac:spMkLst>
        </pc:spChg>
        <pc:spChg chg="mod">
          <ac:chgData name="Thomas Stensitzki" userId="75cafe6b-2f2a-469b-85c4-eec3b9c972ba" providerId="ADAL" clId="{06E14ABF-FC4C-4B98-B2A4-DF762ED946F2}" dt="2019-04-02T17:26:05.161" v="1046"/>
          <ac:spMkLst>
            <pc:docMk/>
            <pc:sldMk cId="2076058816" sldId="282"/>
            <ac:spMk id="86" creationId="{D178F1CD-43EE-4744-9ECF-9A31C10D9347}"/>
          </ac:spMkLst>
        </pc:spChg>
        <pc:spChg chg="mod">
          <ac:chgData name="Thomas Stensitzki" userId="75cafe6b-2f2a-469b-85c4-eec3b9c972ba" providerId="ADAL" clId="{06E14ABF-FC4C-4B98-B2A4-DF762ED946F2}" dt="2019-04-02T17:26:05.162" v="1047"/>
          <ac:spMkLst>
            <pc:docMk/>
            <pc:sldMk cId="2076058816" sldId="282"/>
            <ac:spMk id="87" creationId="{0EE4406A-4E24-4817-819B-DCD06967BC67}"/>
          </ac:spMkLst>
        </pc:spChg>
        <pc:spChg chg="mod">
          <ac:chgData name="Thomas Stensitzki" userId="75cafe6b-2f2a-469b-85c4-eec3b9c972ba" providerId="ADAL" clId="{06E14ABF-FC4C-4B98-B2A4-DF762ED946F2}" dt="2019-04-02T19:50:12.361" v="2960" actId="14100"/>
          <ac:spMkLst>
            <pc:docMk/>
            <pc:sldMk cId="2076058816" sldId="282"/>
            <ac:spMk id="88" creationId="{99F84343-C15C-4877-B557-3C3C879E611D}"/>
          </ac:spMkLst>
        </pc:spChg>
        <pc:spChg chg="mod">
          <ac:chgData name="Thomas Stensitzki" userId="75cafe6b-2f2a-469b-85c4-eec3b9c972ba" providerId="ADAL" clId="{06E14ABF-FC4C-4B98-B2A4-DF762ED946F2}" dt="2019-04-02T17:26:05.168" v="1049"/>
          <ac:spMkLst>
            <pc:docMk/>
            <pc:sldMk cId="2076058816" sldId="282"/>
            <ac:spMk id="89" creationId="{51F8C5DD-2B6E-49F2-BEE8-50470122C9B7}"/>
          </ac:spMkLst>
        </pc:spChg>
        <pc:spChg chg="mod">
          <ac:chgData name="Thomas Stensitzki" userId="75cafe6b-2f2a-469b-85c4-eec3b9c972ba" providerId="ADAL" clId="{06E14ABF-FC4C-4B98-B2A4-DF762ED946F2}" dt="2019-04-02T17:26:05.169" v="1050"/>
          <ac:spMkLst>
            <pc:docMk/>
            <pc:sldMk cId="2076058816" sldId="282"/>
            <ac:spMk id="90" creationId="{841869D8-A9E9-42C7-A91E-7167793A4A11}"/>
          </ac:spMkLst>
        </pc:spChg>
        <pc:spChg chg="mod">
          <ac:chgData name="Thomas Stensitzki" userId="75cafe6b-2f2a-469b-85c4-eec3b9c972ba" providerId="ADAL" clId="{06E14ABF-FC4C-4B98-B2A4-DF762ED946F2}" dt="2019-04-02T17:26:05.170" v="1051"/>
          <ac:spMkLst>
            <pc:docMk/>
            <pc:sldMk cId="2076058816" sldId="282"/>
            <ac:spMk id="91" creationId="{A3CDB667-CD11-45C7-8963-3437A0AF093D}"/>
          </ac:spMkLst>
        </pc:spChg>
        <pc:spChg chg="mod">
          <ac:chgData name="Thomas Stensitzki" userId="75cafe6b-2f2a-469b-85c4-eec3b9c972ba" providerId="ADAL" clId="{06E14ABF-FC4C-4B98-B2A4-DF762ED946F2}" dt="2019-04-02T17:26:05.171" v="1052"/>
          <ac:spMkLst>
            <pc:docMk/>
            <pc:sldMk cId="2076058816" sldId="282"/>
            <ac:spMk id="92" creationId="{06FA877B-2CB6-462C-9955-7FD175834F4A}"/>
          </ac:spMkLst>
        </pc:spChg>
        <pc:spChg chg="mod">
          <ac:chgData name="Thomas Stensitzki" userId="75cafe6b-2f2a-469b-85c4-eec3b9c972ba" providerId="ADAL" clId="{06E14ABF-FC4C-4B98-B2A4-DF762ED946F2}" dt="2019-04-02T17:26:05.173" v="1053"/>
          <ac:spMkLst>
            <pc:docMk/>
            <pc:sldMk cId="2076058816" sldId="282"/>
            <ac:spMk id="93" creationId="{3265F057-6EB8-4A72-8E8A-6E181DA737F8}"/>
          </ac:spMkLst>
        </pc:spChg>
        <pc:spChg chg="mod">
          <ac:chgData name="Thomas Stensitzki" userId="75cafe6b-2f2a-469b-85c4-eec3b9c972ba" providerId="ADAL" clId="{06E14ABF-FC4C-4B98-B2A4-DF762ED946F2}" dt="2019-04-02T17:26:05.175" v="1054" actId="790"/>
          <ac:spMkLst>
            <pc:docMk/>
            <pc:sldMk cId="2076058816" sldId="282"/>
            <ac:spMk id="94" creationId="{0DEA660C-1826-4768-8E5C-682111DA8C6A}"/>
          </ac:spMkLst>
        </pc:spChg>
        <pc:spChg chg="mod">
          <ac:chgData name="Thomas Stensitzki" userId="75cafe6b-2f2a-469b-85c4-eec3b9c972ba" providerId="ADAL" clId="{06E14ABF-FC4C-4B98-B2A4-DF762ED946F2}" dt="2019-04-02T17:26:05.178" v="1055" actId="790"/>
          <ac:spMkLst>
            <pc:docMk/>
            <pc:sldMk cId="2076058816" sldId="282"/>
            <ac:spMk id="95" creationId="{63A18CDE-34AC-41AF-AFAC-F531728C652A}"/>
          </ac:spMkLst>
        </pc:spChg>
        <pc:spChg chg="mod">
          <ac:chgData name="Thomas Stensitzki" userId="75cafe6b-2f2a-469b-85c4-eec3b9c972ba" providerId="ADAL" clId="{06E14ABF-FC4C-4B98-B2A4-DF762ED946F2}" dt="2019-04-02T17:26:05.179" v="1056"/>
          <ac:spMkLst>
            <pc:docMk/>
            <pc:sldMk cId="2076058816" sldId="282"/>
            <ac:spMk id="96" creationId="{40476321-C2FE-44C0-BCCD-A2BDB3E4D864}"/>
          </ac:spMkLst>
        </pc:spChg>
        <pc:spChg chg="mod">
          <ac:chgData name="Thomas Stensitzki" userId="75cafe6b-2f2a-469b-85c4-eec3b9c972ba" providerId="ADAL" clId="{06E14ABF-FC4C-4B98-B2A4-DF762ED946F2}" dt="2019-04-02T17:26:05.180" v="1057"/>
          <ac:spMkLst>
            <pc:docMk/>
            <pc:sldMk cId="2076058816" sldId="282"/>
            <ac:spMk id="97" creationId="{8E08CAA7-5D90-45E7-A66B-C21D5FDA1F0F}"/>
          </ac:spMkLst>
        </pc:spChg>
        <pc:spChg chg="mod">
          <ac:chgData name="Thomas Stensitzki" userId="75cafe6b-2f2a-469b-85c4-eec3b9c972ba" providerId="ADAL" clId="{06E14ABF-FC4C-4B98-B2A4-DF762ED946F2}" dt="2019-04-02T17:26:05.181" v="1058"/>
          <ac:spMkLst>
            <pc:docMk/>
            <pc:sldMk cId="2076058816" sldId="282"/>
            <ac:spMk id="98" creationId="{8E409079-33B3-4CC2-BE26-2CAC31149078}"/>
          </ac:spMkLst>
        </pc:spChg>
        <pc:spChg chg="mod">
          <ac:chgData name="Thomas Stensitzki" userId="75cafe6b-2f2a-469b-85c4-eec3b9c972ba" providerId="ADAL" clId="{06E14ABF-FC4C-4B98-B2A4-DF762ED946F2}" dt="2019-04-02T17:26:05.182" v="1059"/>
          <ac:spMkLst>
            <pc:docMk/>
            <pc:sldMk cId="2076058816" sldId="282"/>
            <ac:spMk id="99" creationId="{1F45599B-18C7-4B05-8F3D-F9C1BAD42F46}"/>
          </ac:spMkLst>
        </pc:spChg>
        <pc:graphicFrameChg chg="modGraphic">
          <ac:chgData name="Thomas Stensitzki" userId="75cafe6b-2f2a-469b-85c4-eec3b9c972ba" providerId="ADAL" clId="{06E14ABF-FC4C-4B98-B2A4-DF762ED946F2}" dt="2019-04-02T19:52:42.039" v="3003" actId="20577"/>
          <ac:graphicFrameMkLst>
            <pc:docMk/>
            <pc:sldMk cId="2076058816" sldId="282"/>
            <ac:graphicFrameMk id="83" creationId="{F4F03CA6-908E-4432-948B-28BB92DC7E5D}"/>
          </ac:graphicFrameMkLst>
        </pc:graphicFrameChg>
        <pc:picChg chg="mod">
          <ac:chgData name="Thomas Stensitzki" userId="75cafe6b-2f2a-469b-85c4-eec3b9c972ba" providerId="ADAL" clId="{06E14ABF-FC4C-4B98-B2A4-DF762ED946F2}" dt="2019-04-02T19:51:57.535" v="2983" actId="1035"/>
          <ac:picMkLst>
            <pc:docMk/>
            <pc:sldMk cId="2076058816" sldId="282"/>
            <ac:picMk id="64" creationId="{9B95609C-5F35-4600-A744-426749373FC2}"/>
          </ac:picMkLst>
        </pc:picChg>
        <pc:picChg chg="mod">
          <ac:chgData name="Thomas Stensitzki" userId="75cafe6b-2f2a-469b-85c4-eec3b9c972ba" providerId="ADAL" clId="{06E14ABF-FC4C-4B98-B2A4-DF762ED946F2}" dt="2019-04-02T19:51:57.535" v="2983" actId="1035"/>
          <ac:picMkLst>
            <pc:docMk/>
            <pc:sldMk cId="2076058816" sldId="282"/>
            <ac:picMk id="65" creationId="{1A20E820-2BF1-4821-96BA-B1A39854CAAD}"/>
          </ac:picMkLst>
        </pc:picChg>
        <pc:cxnChg chg="mod">
          <ac:chgData name="Thomas Stensitzki" userId="75cafe6b-2f2a-469b-85c4-eec3b9c972ba" providerId="ADAL" clId="{06E14ABF-FC4C-4B98-B2A4-DF762ED946F2}" dt="2019-04-02T19:51:11.880" v="2976" actId="1035"/>
          <ac:cxnSpMkLst>
            <pc:docMk/>
            <pc:sldMk cId="2076058816" sldId="282"/>
            <ac:cxnSpMk id="66" creationId="{2528A306-2450-490E-ABC2-0BB13EE29650}"/>
          </ac:cxnSpMkLst>
        </pc:cxnChg>
      </pc:sldChg>
      <pc:sldChg chg="modSp modNotes">
        <pc:chgData name="Thomas Stensitzki" userId="75cafe6b-2f2a-469b-85c4-eec3b9c972ba" providerId="ADAL" clId="{06E14ABF-FC4C-4B98-B2A4-DF762ED946F2}" dt="2019-04-02T19:54:44.111" v="3160" actId="20577"/>
        <pc:sldMkLst>
          <pc:docMk/>
          <pc:sldMk cId="2739882426" sldId="283"/>
        </pc:sldMkLst>
        <pc:spChg chg="mod">
          <ac:chgData name="Thomas Stensitzki" userId="75cafe6b-2f2a-469b-85c4-eec3b9c972ba" providerId="ADAL" clId="{06E14ABF-FC4C-4B98-B2A4-DF762ED946F2}" dt="2019-04-02T17:26:05.188" v="1062" actId="790"/>
          <ac:spMkLst>
            <pc:docMk/>
            <pc:sldMk cId="2739882426" sldId="283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4:44.111" v="3160" actId="20577"/>
          <ac:spMkLst>
            <pc:docMk/>
            <pc:sldMk cId="2739882426" sldId="283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01" v="1064" actId="790"/>
          <ac:spMkLst>
            <pc:docMk/>
            <pc:sldMk cId="2739882426" sldId="283"/>
            <ac:spMk id="4" creationId="{00000000-0000-0000-0000-000000000000}"/>
          </ac:spMkLst>
        </pc:spChg>
      </pc:sldChg>
      <pc:sldChg chg="addSp modSp modAnim modNotes">
        <pc:chgData name="Thomas Stensitzki" userId="75cafe6b-2f2a-469b-85c4-eec3b9c972ba" providerId="ADAL" clId="{06E14ABF-FC4C-4B98-B2A4-DF762ED946F2}" dt="2019-04-02T19:55:30.398" v="3166" actId="164"/>
        <pc:sldMkLst>
          <pc:docMk/>
          <pc:sldMk cId="3295375751" sldId="284"/>
        </pc:sldMkLst>
        <pc:spChg chg="mod">
          <ac:chgData name="Thomas Stensitzki" userId="75cafe6b-2f2a-469b-85c4-eec3b9c972ba" providerId="ADAL" clId="{06E14ABF-FC4C-4B98-B2A4-DF762ED946F2}" dt="2019-04-02T17:26:05.243" v="1079" actId="790"/>
          <ac:spMkLst>
            <pc:docMk/>
            <pc:sldMk cId="3295375751" sldId="284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45" v="1080" actId="790"/>
          <ac:spMkLst>
            <pc:docMk/>
            <pc:sldMk cId="3295375751" sldId="284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47" v="1081" actId="790"/>
          <ac:spMkLst>
            <pc:docMk/>
            <pc:sldMk cId="3295375751" sldId="284"/>
            <ac:spMk id="14" creationId="{BA23A442-04EB-40D3-83AF-C6FD11AC0586}"/>
          </ac:spMkLst>
        </pc:spChg>
        <pc:spChg chg="mod">
          <ac:chgData name="Thomas Stensitzki" userId="75cafe6b-2f2a-469b-85c4-eec3b9c972ba" providerId="ADAL" clId="{06E14ABF-FC4C-4B98-B2A4-DF762ED946F2}" dt="2019-04-02T17:26:05.249" v="1082" actId="790"/>
          <ac:spMkLst>
            <pc:docMk/>
            <pc:sldMk cId="3295375751" sldId="284"/>
            <ac:spMk id="17" creationId="{C63B20CF-D54B-47F0-B932-887BF7A5BEBE}"/>
          </ac:spMkLst>
        </pc:spChg>
        <pc:spChg chg="mod">
          <ac:chgData name="Thomas Stensitzki" userId="75cafe6b-2f2a-469b-85c4-eec3b9c972ba" providerId="ADAL" clId="{06E14ABF-FC4C-4B98-B2A4-DF762ED946F2}" dt="2019-04-02T19:55:27.242" v="3165" actId="164"/>
          <ac:spMkLst>
            <pc:docMk/>
            <pc:sldMk cId="3295375751" sldId="284"/>
            <ac:spMk id="19" creationId="{BDF63F04-AADF-4F68-BB8B-92D2FFD0D2BF}"/>
          </ac:spMkLst>
        </pc:spChg>
        <pc:spChg chg="mod">
          <ac:chgData name="Thomas Stensitzki" userId="75cafe6b-2f2a-469b-85c4-eec3b9c972ba" providerId="ADAL" clId="{06E14ABF-FC4C-4B98-B2A4-DF762ED946F2}" dt="2019-04-02T19:55:30.398" v="3166" actId="164"/>
          <ac:spMkLst>
            <pc:docMk/>
            <pc:sldMk cId="3295375751" sldId="284"/>
            <ac:spMk id="20" creationId="{D4F9EED7-40BF-41C8-AA9B-66FA82499416}"/>
          </ac:spMkLst>
        </pc:spChg>
        <pc:grpChg chg="add mod">
          <ac:chgData name="Thomas Stensitzki" userId="75cafe6b-2f2a-469b-85c4-eec3b9c972ba" providerId="ADAL" clId="{06E14ABF-FC4C-4B98-B2A4-DF762ED946F2}" dt="2019-04-02T19:55:27.242" v="3165" actId="164"/>
          <ac:grpSpMkLst>
            <pc:docMk/>
            <pc:sldMk cId="3295375751" sldId="284"/>
            <ac:grpSpMk id="3" creationId="{A2850779-A0DF-4268-864A-7FC8EFE93588}"/>
          </ac:grpSpMkLst>
        </pc:grpChg>
        <pc:grpChg chg="add mod">
          <ac:chgData name="Thomas Stensitzki" userId="75cafe6b-2f2a-469b-85c4-eec3b9c972ba" providerId="ADAL" clId="{06E14ABF-FC4C-4B98-B2A4-DF762ED946F2}" dt="2019-04-02T19:55:30.398" v="3166" actId="164"/>
          <ac:grpSpMkLst>
            <pc:docMk/>
            <pc:sldMk cId="3295375751" sldId="284"/>
            <ac:grpSpMk id="5" creationId="{0C5E8E26-497C-4C51-9175-5915C42B8928}"/>
          </ac:grpSpMkLst>
        </pc:grpChg>
        <pc:grpChg chg="mod">
          <ac:chgData name="Thomas Stensitzki" userId="75cafe6b-2f2a-469b-85c4-eec3b9c972ba" providerId="ADAL" clId="{06E14ABF-FC4C-4B98-B2A4-DF762ED946F2}" dt="2019-04-02T19:55:30.398" v="3166" actId="164"/>
          <ac:grpSpMkLst>
            <pc:docMk/>
            <pc:sldMk cId="3295375751" sldId="284"/>
            <ac:grpSpMk id="13" creationId="{228B5D5D-FDAA-488C-BAEA-52F6D1D1A349}"/>
          </ac:grpSpMkLst>
        </pc:grpChg>
        <pc:grpChg chg="mod">
          <ac:chgData name="Thomas Stensitzki" userId="75cafe6b-2f2a-469b-85c4-eec3b9c972ba" providerId="ADAL" clId="{06E14ABF-FC4C-4B98-B2A4-DF762ED946F2}" dt="2019-04-02T19:55:27.242" v="3165" actId="164"/>
          <ac:grpSpMkLst>
            <pc:docMk/>
            <pc:sldMk cId="3295375751" sldId="284"/>
            <ac:grpSpMk id="16" creationId="{0F3A16C1-E1A3-4BBA-A931-A367AFF40D75}"/>
          </ac:grpSpMkLst>
        </pc:grpChg>
      </pc:sldChg>
      <pc:sldChg chg="modSp modNotes">
        <pc:chgData name="Thomas Stensitzki" userId="75cafe6b-2f2a-469b-85c4-eec3b9c972ba" providerId="ADAL" clId="{06E14ABF-FC4C-4B98-B2A4-DF762ED946F2}" dt="2019-04-02T17:26:05.218" v="1070" actId="790"/>
        <pc:sldMkLst>
          <pc:docMk/>
          <pc:sldMk cId="3531332204" sldId="285"/>
        </pc:sldMkLst>
        <pc:spChg chg="mod">
          <ac:chgData name="Thomas Stensitzki" userId="75cafe6b-2f2a-469b-85c4-eec3b9c972ba" providerId="ADAL" clId="{06E14ABF-FC4C-4B98-B2A4-DF762ED946F2}" dt="2019-04-02T17:26:05.210" v="1067" actId="790"/>
          <ac:spMkLst>
            <pc:docMk/>
            <pc:sldMk cId="3531332204" sldId="285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5.213" v="1068" actId="790"/>
          <ac:spMkLst>
            <pc:docMk/>
            <pc:sldMk cId="3531332204" sldId="285"/>
            <ac:spMk id="6" creationId="{9D5FCE5E-BE6E-4AAA-BFE2-CADDE02D473C}"/>
          </ac:spMkLst>
        </pc:spChg>
      </pc:sldChg>
      <pc:sldChg chg="addSp modSp modAnim modNotes">
        <pc:chgData name="Thomas Stensitzki" userId="75cafe6b-2f2a-469b-85c4-eec3b9c972ba" providerId="ADAL" clId="{06E14ABF-FC4C-4B98-B2A4-DF762ED946F2}" dt="2019-04-02T19:55:21.452" v="3164" actId="164"/>
        <pc:sldMkLst>
          <pc:docMk/>
          <pc:sldMk cId="2572513754" sldId="286"/>
        </pc:sldMkLst>
        <pc:spChg chg="mod">
          <ac:chgData name="Thomas Stensitzki" userId="75cafe6b-2f2a-469b-85c4-eec3b9c972ba" providerId="ADAL" clId="{06E14ABF-FC4C-4B98-B2A4-DF762ED946F2}" dt="2019-04-02T17:26:05.220" v="1071" actId="790"/>
          <ac:spMkLst>
            <pc:docMk/>
            <pc:sldMk cId="2572513754" sldId="286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22" v="1072" actId="790"/>
          <ac:spMkLst>
            <pc:docMk/>
            <pc:sldMk cId="2572513754" sldId="286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5:07.463" v="3161" actId="164"/>
          <ac:spMkLst>
            <pc:docMk/>
            <pc:sldMk cId="2572513754" sldId="286"/>
            <ac:spMk id="9" creationId="{6A657B06-4764-4D8E-9D5B-0CBAB225C9D5}"/>
          </ac:spMkLst>
        </pc:spChg>
        <pc:spChg chg="mod">
          <ac:chgData name="Thomas Stensitzki" userId="75cafe6b-2f2a-469b-85c4-eec3b9c972ba" providerId="ADAL" clId="{06E14ABF-FC4C-4B98-B2A4-DF762ED946F2}" dt="2019-04-02T19:55:11.417" v="3162" actId="164"/>
          <ac:spMkLst>
            <pc:docMk/>
            <pc:sldMk cId="2572513754" sldId="286"/>
            <ac:spMk id="10" creationId="{D50396F0-ED50-46AA-AC8A-7E5053215AD3}"/>
          </ac:spMkLst>
        </pc:spChg>
        <pc:spChg chg="mod">
          <ac:chgData name="Thomas Stensitzki" userId="75cafe6b-2f2a-469b-85c4-eec3b9c972ba" providerId="ADAL" clId="{06E14ABF-FC4C-4B98-B2A4-DF762ED946F2}" dt="2019-04-02T19:55:15.915" v="3163" actId="164"/>
          <ac:spMkLst>
            <pc:docMk/>
            <pc:sldMk cId="2572513754" sldId="286"/>
            <ac:spMk id="11" creationId="{89E04351-525A-4C24-819F-B76A864665E0}"/>
          </ac:spMkLst>
        </pc:spChg>
        <pc:spChg chg="mod">
          <ac:chgData name="Thomas Stensitzki" userId="75cafe6b-2f2a-469b-85c4-eec3b9c972ba" providerId="ADAL" clId="{06E14ABF-FC4C-4B98-B2A4-DF762ED946F2}" dt="2019-04-02T19:55:21.452" v="3164" actId="164"/>
          <ac:spMkLst>
            <pc:docMk/>
            <pc:sldMk cId="2572513754" sldId="286"/>
            <ac:spMk id="12" creationId="{857619C1-8E4F-47DF-8BF7-080438FF52D1}"/>
          </ac:spMkLst>
        </pc:spChg>
        <pc:grpChg chg="add mod">
          <ac:chgData name="Thomas Stensitzki" userId="75cafe6b-2f2a-469b-85c4-eec3b9c972ba" providerId="ADAL" clId="{06E14ABF-FC4C-4B98-B2A4-DF762ED946F2}" dt="2019-04-02T19:55:07.463" v="3161" actId="164"/>
          <ac:grpSpMkLst>
            <pc:docMk/>
            <pc:sldMk cId="2572513754" sldId="286"/>
            <ac:grpSpMk id="3" creationId="{9E09BED0-6C09-4394-BCC9-2A9B99A26E88}"/>
          </ac:grpSpMkLst>
        </pc:grpChg>
        <pc:grpChg chg="add mod">
          <ac:chgData name="Thomas Stensitzki" userId="75cafe6b-2f2a-469b-85c4-eec3b9c972ba" providerId="ADAL" clId="{06E14ABF-FC4C-4B98-B2A4-DF762ED946F2}" dt="2019-04-02T19:55:11.417" v="3162" actId="164"/>
          <ac:grpSpMkLst>
            <pc:docMk/>
            <pc:sldMk cId="2572513754" sldId="286"/>
            <ac:grpSpMk id="13" creationId="{2C2F2596-8273-4867-A4E0-43DDF196B5CE}"/>
          </ac:grpSpMkLst>
        </pc:grpChg>
        <pc:grpChg chg="add mod">
          <ac:chgData name="Thomas Stensitzki" userId="75cafe6b-2f2a-469b-85c4-eec3b9c972ba" providerId="ADAL" clId="{06E14ABF-FC4C-4B98-B2A4-DF762ED946F2}" dt="2019-04-02T19:55:15.915" v="3163" actId="164"/>
          <ac:grpSpMkLst>
            <pc:docMk/>
            <pc:sldMk cId="2572513754" sldId="286"/>
            <ac:grpSpMk id="14" creationId="{D770057F-D943-4326-97C7-A3B9A642ABF3}"/>
          </ac:grpSpMkLst>
        </pc:grpChg>
        <pc:grpChg chg="add mod">
          <ac:chgData name="Thomas Stensitzki" userId="75cafe6b-2f2a-469b-85c4-eec3b9c972ba" providerId="ADAL" clId="{06E14ABF-FC4C-4B98-B2A4-DF762ED946F2}" dt="2019-04-02T19:55:21.452" v="3164" actId="164"/>
          <ac:grpSpMkLst>
            <pc:docMk/>
            <pc:sldMk cId="2572513754" sldId="286"/>
            <ac:grpSpMk id="15" creationId="{6EC01EBF-BBFE-49A8-8FC6-099D361AEF37}"/>
          </ac:grpSpMkLst>
        </pc:grpChg>
        <pc:picChg chg="mod">
          <ac:chgData name="Thomas Stensitzki" userId="75cafe6b-2f2a-469b-85c4-eec3b9c972ba" providerId="ADAL" clId="{06E14ABF-FC4C-4B98-B2A4-DF762ED946F2}" dt="2019-04-02T19:55:21.452" v="3164" actId="164"/>
          <ac:picMkLst>
            <pc:docMk/>
            <pc:sldMk cId="2572513754" sldId="286"/>
            <ac:picMk id="5" creationId="{007F7F51-56B5-4BFA-AFB0-7084762A0187}"/>
          </ac:picMkLst>
        </pc:picChg>
        <pc:picChg chg="mod">
          <ac:chgData name="Thomas Stensitzki" userId="75cafe6b-2f2a-469b-85c4-eec3b9c972ba" providerId="ADAL" clId="{06E14ABF-FC4C-4B98-B2A4-DF762ED946F2}" dt="2019-04-02T19:55:11.417" v="3162" actId="164"/>
          <ac:picMkLst>
            <pc:docMk/>
            <pc:sldMk cId="2572513754" sldId="286"/>
            <ac:picMk id="6" creationId="{F50379D1-416B-409C-864F-DA51FC038F2B}"/>
          </ac:picMkLst>
        </pc:picChg>
        <pc:picChg chg="mod">
          <ac:chgData name="Thomas Stensitzki" userId="75cafe6b-2f2a-469b-85c4-eec3b9c972ba" providerId="ADAL" clId="{06E14ABF-FC4C-4B98-B2A4-DF762ED946F2}" dt="2019-04-02T19:55:15.915" v="3163" actId="164"/>
          <ac:picMkLst>
            <pc:docMk/>
            <pc:sldMk cId="2572513754" sldId="286"/>
            <ac:picMk id="7" creationId="{F0380606-82E6-4380-B51E-F60F8CDAEDE3}"/>
          </ac:picMkLst>
        </pc:picChg>
        <pc:picChg chg="mod">
          <ac:chgData name="Thomas Stensitzki" userId="75cafe6b-2f2a-469b-85c4-eec3b9c972ba" providerId="ADAL" clId="{06E14ABF-FC4C-4B98-B2A4-DF762ED946F2}" dt="2019-04-02T19:55:07.463" v="3161" actId="164"/>
          <ac:picMkLst>
            <pc:docMk/>
            <pc:sldMk cId="2572513754" sldId="286"/>
            <ac:picMk id="8" creationId="{A874C571-2DDE-4D75-9253-ED16D25FD016}"/>
          </ac:picMkLst>
        </pc:picChg>
      </pc:sldChg>
      <pc:sldChg chg="addSp modSp modAnim modNotes">
        <pc:chgData name="Thomas Stensitzki" userId="75cafe6b-2f2a-469b-85c4-eec3b9c972ba" providerId="ADAL" clId="{06E14ABF-FC4C-4B98-B2A4-DF762ED946F2}" dt="2019-04-02T19:55:44.984" v="3168" actId="14100"/>
        <pc:sldMkLst>
          <pc:docMk/>
          <pc:sldMk cId="3746320788" sldId="287"/>
        </pc:sldMkLst>
        <pc:spChg chg="mod">
          <ac:chgData name="Thomas Stensitzki" userId="75cafe6b-2f2a-469b-85c4-eec3b9c972ba" providerId="ADAL" clId="{06E14ABF-FC4C-4B98-B2A4-DF762ED946F2}" dt="2019-04-02T17:26:05.263" v="1087" actId="790"/>
          <ac:spMkLst>
            <pc:docMk/>
            <pc:sldMk cId="3746320788" sldId="287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65" v="1088" actId="790"/>
          <ac:spMkLst>
            <pc:docMk/>
            <pc:sldMk cId="3746320788" sldId="287"/>
            <ac:spMk id="4" creationId="{00000000-0000-0000-0000-000000000000}"/>
          </ac:spMkLst>
        </pc:spChg>
        <pc:spChg chg="add mod">
          <ac:chgData name="Thomas Stensitzki" userId="75cafe6b-2f2a-469b-85c4-eec3b9c972ba" providerId="ADAL" clId="{06E14ABF-FC4C-4B98-B2A4-DF762ED946F2}" dt="2019-04-02T18:11:19.825" v="2134" actId="207"/>
          <ac:spMkLst>
            <pc:docMk/>
            <pc:sldMk cId="3746320788" sldId="287"/>
            <ac:spMk id="9" creationId="{D1821834-481A-4DBE-B40F-F13EF06B67E2}"/>
          </ac:spMkLst>
        </pc:spChg>
        <pc:spChg chg="mod">
          <ac:chgData name="Thomas Stensitzki" userId="75cafe6b-2f2a-469b-85c4-eec3b9c972ba" providerId="ADAL" clId="{06E14ABF-FC4C-4B98-B2A4-DF762ED946F2}" dt="2019-04-02T18:10:53.132" v="2126" actId="113"/>
          <ac:spMkLst>
            <pc:docMk/>
            <pc:sldMk cId="3746320788" sldId="287"/>
            <ac:spMk id="22" creationId="{EE9D4963-A7D7-436C-B50B-D2DFC97C0A65}"/>
          </ac:spMkLst>
        </pc:spChg>
        <pc:spChg chg="mod">
          <ac:chgData name="Thomas Stensitzki" userId="75cafe6b-2f2a-469b-85c4-eec3b9c972ba" providerId="ADAL" clId="{06E14ABF-FC4C-4B98-B2A4-DF762ED946F2}" dt="2019-04-02T19:55:44.984" v="3168" actId="14100"/>
          <ac:spMkLst>
            <pc:docMk/>
            <pc:sldMk cId="3746320788" sldId="287"/>
            <ac:spMk id="24" creationId="{4428AD4D-3546-48C9-9328-75F6DF9BC959}"/>
          </ac:spMkLst>
        </pc:spChg>
      </pc:sldChg>
      <pc:sldChg chg="modSp modNotes">
        <pc:chgData name="Thomas Stensitzki" userId="75cafe6b-2f2a-469b-85c4-eec3b9c972ba" providerId="ADAL" clId="{06E14ABF-FC4C-4B98-B2A4-DF762ED946F2}" dt="2019-04-02T18:22:41.676" v="2779" actId="113"/>
        <pc:sldMkLst>
          <pc:docMk/>
          <pc:sldMk cId="3049271955" sldId="288"/>
        </pc:sldMkLst>
        <pc:spChg chg="mod">
          <ac:chgData name="Thomas Stensitzki" userId="75cafe6b-2f2a-469b-85c4-eec3b9c972ba" providerId="ADAL" clId="{06E14ABF-FC4C-4B98-B2A4-DF762ED946F2}" dt="2019-04-02T17:26:05.276" v="1093" actId="790"/>
          <ac:spMkLst>
            <pc:docMk/>
            <pc:sldMk cId="3049271955" sldId="288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8:22:41.676" v="2779" actId="113"/>
          <ac:spMkLst>
            <pc:docMk/>
            <pc:sldMk cId="3049271955" sldId="288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87" v="1095" actId="790"/>
          <ac:spMkLst>
            <pc:docMk/>
            <pc:sldMk cId="3049271955" sldId="288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41:58.981" v="1668" actId="1076"/>
          <ac:spMkLst>
            <pc:docMk/>
            <pc:sldMk cId="3049271955" sldId="288"/>
            <ac:spMk id="6" creationId="{4E5461E9-A8AB-4A5B-8526-DDFD4C63C783}"/>
          </ac:spMkLst>
        </pc:spChg>
        <pc:spChg chg="mod">
          <ac:chgData name="Thomas Stensitzki" userId="75cafe6b-2f2a-469b-85c4-eec3b9c972ba" providerId="ADAL" clId="{06E14ABF-FC4C-4B98-B2A4-DF762ED946F2}" dt="2019-04-02T17:42:08.142" v="1670" actId="1076"/>
          <ac:spMkLst>
            <pc:docMk/>
            <pc:sldMk cId="3049271955" sldId="288"/>
            <ac:spMk id="8" creationId="{376A0A1D-68E9-4F59-A2B0-C43C09D8D130}"/>
          </ac:spMkLst>
        </pc:spChg>
        <pc:spChg chg="mod">
          <ac:chgData name="Thomas Stensitzki" userId="75cafe6b-2f2a-469b-85c4-eec3b9c972ba" providerId="ADAL" clId="{06E14ABF-FC4C-4B98-B2A4-DF762ED946F2}" dt="2019-04-02T17:43:16.279" v="1687" actId="1076"/>
          <ac:spMkLst>
            <pc:docMk/>
            <pc:sldMk cId="3049271955" sldId="288"/>
            <ac:spMk id="10" creationId="{92BC81D2-6FB2-4CE1-ABA3-02A4627BB668}"/>
          </ac:spMkLst>
        </pc:spChg>
        <pc:graphicFrameChg chg="mod modGraphic">
          <ac:chgData name="Thomas Stensitzki" userId="75cafe6b-2f2a-469b-85c4-eec3b9c972ba" providerId="ADAL" clId="{06E14ABF-FC4C-4B98-B2A4-DF762ED946F2}" dt="2019-04-02T17:42:53.641" v="1676" actId="20577"/>
          <ac:graphicFrameMkLst>
            <pc:docMk/>
            <pc:sldMk cId="3049271955" sldId="288"/>
            <ac:graphicFrameMk id="5" creationId="{8D3CCCD3-0610-433F-B417-4C78AC156724}"/>
          </ac:graphicFrameMkLst>
        </pc:graphicFrameChg>
        <pc:graphicFrameChg chg="mod modGraphic">
          <ac:chgData name="Thomas Stensitzki" userId="75cafe6b-2f2a-469b-85c4-eec3b9c972ba" providerId="ADAL" clId="{06E14ABF-FC4C-4B98-B2A4-DF762ED946F2}" dt="2019-04-02T17:42:59.716" v="1678" actId="6549"/>
          <ac:graphicFrameMkLst>
            <pc:docMk/>
            <pc:sldMk cId="3049271955" sldId="288"/>
            <ac:graphicFrameMk id="7" creationId="{3488B4B5-5699-4B3A-B54F-FE5F013A84F2}"/>
          </ac:graphicFrameMkLst>
        </pc:graphicFrameChg>
        <pc:graphicFrameChg chg="modGraphic">
          <ac:chgData name="Thomas Stensitzki" userId="75cafe6b-2f2a-469b-85c4-eec3b9c972ba" providerId="ADAL" clId="{06E14ABF-FC4C-4B98-B2A4-DF762ED946F2}" dt="2019-04-02T17:43:03.538" v="1680" actId="6549"/>
          <ac:graphicFrameMkLst>
            <pc:docMk/>
            <pc:sldMk cId="3049271955" sldId="288"/>
            <ac:graphicFrameMk id="9" creationId="{4C7E3001-4E7A-45D2-9A3F-62F0818042CC}"/>
          </ac:graphicFrameMkLst>
        </pc:graphicFrameChg>
      </pc:sldChg>
      <pc:sldChg chg="modSp modNotes modNotesTx">
        <pc:chgData name="Thomas Stensitzki" userId="75cafe6b-2f2a-469b-85c4-eec3b9c972ba" providerId="ADAL" clId="{06E14ABF-FC4C-4B98-B2A4-DF762ED946F2}" dt="2019-04-02T19:56:10.460" v="3170" actId="27636"/>
        <pc:sldMkLst>
          <pc:docMk/>
          <pc:sldMk cId="3468189571" sldId="289"/>
        </pc:sldMkLst>
        <pc:spChg chg="mod">
          <ac:chgData name="Thomas Stensitzki" userId="75cafe6b-2f2a-469b-85c4-eec3b9c972ba" providerId="ADAL" clId="{06E14ABF-FC4C-4B98-B2A4-DF762ED946F2}" dt="2019-04-02T17:26:05.356" v="1134" actId="790"/>
          <ac:spMkLst>
            <pc:docMk/>
            <pc:sldMk cId="3468189571" sldId="289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6:10.460" v="3170" actId="27636"/>
          <ac:spMkLst>
            <pc:docMk/>
            <pc:sldMk cId="3468189571" sldId="289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72" v="1136" actId="790"/>
          <ac:spMkLst>
            <pc:docMk/>
            <pc:sldMk cId="3468189571" sldId="289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74" v="1137" actId="790"/>
          <ac:spMkLst>
            <pc:docMk/>
            <pc:sldMk cId="3468189571" sldId="289"/>
            <ac:spMk id="5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8:15:29.515" v="2531" actId="6549"/>
        <pc:sldMkLst>
          <pc:docMk/>
          <pc:sldMk cId="2722891500" sldId="290"/>
        </pc:sldMkLst>
        <pc:spChg chg="mod">
          <ac:chgData name="Thomas Stensitzki" userId="75cafe6b-2f2a-469b-85c4-eec3b9c972ba" providerId="ADAL" clId="{06E14ABF-FC4C-4B98-B2A4-DF762ED946F2}" dt="2019-04-02T17:26:05.381" v="1140" actId="790"/>
          <ac:spMkLst>
            <pc:docMk/>
            <pc:sldMk cId="2722891500" sldId="290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83" v="1141" actId="790"/>
          <ac:spMkLst>
            <pc:docMk/>
            <pc:sldMk cId="2722891500" sldId="290"/>
            <ac:spMk id="4" creationId="{00000000-0000-0000-0000-000000000000}"/>
          </ac:spMkLst>
        </pc:spChg>
        <pc:graphicFrameChg chg="modGraphic">
          <ac:chgData name="Thomas Stensitzki" userId="75cafe6b-2f2a-469b-85c4-eec3b9c972ba" providerId="ADAL" clId="{06E14ABF-FC4C-4B98-B2A4-DF762ED946F2}" dt="2019-04-02T18:15:29.515" v="2531" actId="6549"/>
          <ac:graphicFrameMkLst>
            <pc:docMk/>
            <pc:sldMk cId="2722891500" sldId="290"/>
            <ac:graphicFrameMk id="5" creationId="{72FCE2C9-019F-44A9-BCB7-5D6006A18818}"/>
          </ac:graphicFrameMkLst>
        </pc:graphicFrameChg>
      </pc:sldChg>
      <pc:sldChg chg="modSp modNotes">
        <pc:chgData name="Thomas Stensitzki" userId="75cafe6b-2f2a-469b-85c4-eec3b9c972ba" providerId="ADAL" clId="{06E14ABF-FC4C-4B98-B2A4-DF762ED946F2}" dt="2019-04-02T20:02:11.635" v="3632" actId="6549"/>
        <pc:sldMkLst>
          <pc:docMk/>
          <pc:sldMk cId="615471493" sldId="291"/>
        </pc:sldMkLst>
        <pc:spChg chg="mod">
          <ac:chgData name="Thomas Stensitzki" userId="75cafe6b-2f2a-469b-85c4-eec3b9c972ba" providerId="ADAL" clId="{06E14ABF-FC4C-4B98-B2A4-DF762ED946F2}" dt="2019-04-02T17:26:05.419" v="1156" actId="790"/>
          <ac:spMkLst>
            <pc:docMk/>
            <pc:sldMk cId="615471493" sldId="291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02:11.635" v="3632" actId="6549"/>
          <ac:spMkLst>
            <pc:docMk/>
            <pc:sldMk cId="615471493" sldId="291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441" v="1158" actId="790"/>
          <ac:spMkLst>
            <pc:docMk/>
            <pc:sldMk cId="615471493" sldId="291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8:16:34.950" v="2607" actId="113"/>
          <ac:spMkLst>
            <pc:docMk/>
            <pc:sldMk cId="615471493" sldId="291"/>
            <ac:spMk id="5" creationId="{61A8CEEB-04A7-4E2C-A326-8BDA78997065}"/>
          </ac:spMkLst>
        </pc:spChg>
        <pc:spChg chg="mod">
          <ac:chgData name="Thomas Stensitzki" userId="75cafe6b-2f2a-469b-85c4-eec3b9c972ba" providerId="ADAL" clId="{06E14ABF-FC4C-4B98-B2A4-DF762ED946F2}" dt="2019-04-02T17:26:05.450" v="1160" actId="790"/>
          <ac:spMkLst>
            <pc:docMk/>
            <pc:sldMk cId="615471493" sldId="291"/>
            <ac:spMk id="6" creationId="{955176E7-45C7-44B9-BE12-95D572909CF1}"/>
          </ac:spMkLst>
        </pc:spChg>
        <pc:spChg chg="mod">
          <ac:chgData name="Thomas Stensitzki" userId="75cafe6b-2f2a-469b-85c4-eec3b9c972ba" providerId="ADAL" clId="{06E14ABF-FC4C-4B98-B2A4-DF762ED946F2}" dt="2019-04-02T17:26:05.452" v="1161" actId="790"/>
          <ac:spMkLst>
            <pc:docMk/>
            <pc:sldMk cId="615471493" sldId="291"/>
            <ac:spMk id="7" creationId="{F9626815-9916-4493-A1C9-48E602A927EE}"/>
          </ac:spMkLst>
        </pc:spChg>
        <pc:spChg chg="mod">
          <ac:chgData name="Thomas Stensitzki" userId="75cafe6b-2f2a-469b-85c4-eec3b9c972ba" providerId="ADAL" clId="{06E14ABF-FC4C-4B98-B2A4-DF762ED946F2}" dt="2019-04-02T18:16:40.079" v="2609" actId="113"/>
          <ac:spMkLst>
            <pc:docMk/>
            <pc:sldMk cId="615471493" sldId="291"/>
            <ac:spMk id="8" creationId="{95331F01-7489-49EF-9556-7D2C61FFCC94}"/>
          </ac:spMkLst>
        </pc:spChg>
        <pc:spChg chg="mod">
          <ac:chgData name="Thomas Stensitzki" userId="75cafe6b-2f2a-469b-85c4-eec3b9c972ba" providerId="ADAL" clId="{06E14ABF-FC4C-4B98-B2A4-DF762ED946F2}" dt="2019-04-02T18:16:43.669" v="2611" actId="113"/>
          <ac:spMkLst>
            <pc:docMk/>
            <pc:sldMk cId="615471493" sldId="291"/>
            <ac:spMk id="9" creationId="{5A8AA5CD-82D8-484C-8FDB-1C1500A3F10D}"/>
          </ac:spMkLst>
        </pc:spChg>
        <pc:spChg chg="mod">
          <ac:chgData name="Thomas Stensitzki" userId="75cafe6b-2f2a-469b-85c4-eec3b9c972ba" providerId="ADAL" clId="{06E14ABF-FC4C-4B98-B2A4-DF762ED946F2}" dt="2019-04-02T17:26:05.464" v="1164"/>
          <ac:spMkLst>
            <pc:docMk/>
            <pc:sldMk cId="615471493" sldId="291"/>
            <ac:spMk id="10" creationId="{F670CA35-04ED-47D7-A76D-881E5E867656}"/>
          </ac:spMkLst>
        </pc:spChg>
        <pc:spChg chg="mod">
          <ac:chgData name="Thomas Stensitzki" userId="75cafe6b-2f2a-469b-85c4-eec3b9c972ba" providerId="ADAL" clId="{06E14ABF-FC4C-4B98-B2A4-DF762ED946F2}" dt="2019-04-02T17:26:05.465" v="1165"/>
          <ac:spMkLst>
            <pc:docMk/>
            <pc:sldMk cId="615471493" sldId="291"/>
            <ac:spMk id="11" creationId="{2032AB6F-B021-4BF0-897E-5B3BB7C14704}"/>
          </ac:spMkLst>
        </pc:spChg>
        <pc:spChg chg="mod">
          <ac:chgData name="Thomas Stensitzki" userId="75cafe6b-2f2a-469b-85c4-eec3b9c972ba" providerId="ADAL" clId="{06E14ABF-FC4C-4B98-B2A4-DF762ED946F2}" dt="2019-04-02T17:26:05.466" v="1166"/>
          <ac:spMkLst>
            <pc:docMk/>
            <pc:sldMk cId="615471493" sldId="291"/>
            <ac:spMk id="12" creationId="{707F3A51-6463-4953-981B-FAB4AAB83A70}"/>
          </ac:spMkLst>
        </pc:spChg>
        <pc:spChg chg="mod">
          <ac:chgData name="Thomas Stensitzki" userId="75cafe6b-2f2a-469b-85c4-eec3b9c972ba" providerId="ADAL" clId="{06E14ABF-FC4C-4B98-B2A4-DF762ED946F2}" dt="2019-04-02T17:26:05.468" v="1167"/>
          <ac:spMkLst>
            <pc:docMk/>
            <pc:sldMk cId="615471493" sldId="291"/>
            <ac:spMk id="15" creationId="{1866AE48-5404-46BA-8F14-02C73A639014}"/>
          </ac:spMkLst>
        </pc:spChg>
        <pc:spChg chg="mod">
          <ac:chgData name="Thomas Stensitzki" userId="75cafe6b-2f2a-469b-85c4-eec3b9c972ba" providerId="ADAL" clId="{06E14ABF-FC4C-4B98-B2A4-DF762ED946F2}" dt="2019-04-02T17:26:05.469" v="1168"/>
          <ac:spMkLst>
            <pc:docMk/>
            <pc:sldMk cId="615471493" sldId="291"/>
            <ac:spMk id="16" creationId="{D1DF71F6-7E68-4636-BB2F-DCF2B36F77B3}"/>
          </ac:spMkLst>
        </pc:spChg>
        <pc:spChg chg="mod">
          <ac:chgData name="Thomas Stensitzki" userId="75cafe6b-2f2a-469b-85c4-eec3b9c972ba" providerId="ADAL" clId="{06E14ABF-FC4C-4B98-B2A4-DF762ED946F2}" dt="2019-04-02T17:26:05.471" v="1169"/>
          <ac:spMkLst>
            <pc:docMk/>
            <pc:sldMk cId="615471493" sldId="291"/>
            <ac:spMk id="17" creationId="{F685687A-8D22-4B25-ABE6-DCF2582F9116}"/>
          </ac:spMkLst>
        </pc:spChg>
        <pc:spChg chg="mod">
          <ac:chgData name="Thomas Stensitzki" userId="75cafe6b-2f2a-469b-85c4-eec3b9c972ba" providerId="ADAL" clId="{06E14ABF-FC4C-4B98-B2A4-DF762ED946F2}" dt="2019-04-02T17:26:05.472" v="1170"/>
          <ac:spMkLst>
            <pc:docMk/>
            <pc:sldMk cId="615471493" sldId="291"/>
            <ac:spMk id="20" creationId="{A6A4E310-2129-4C0D-86C1-E458ACE88862}"/>
          </ac:spMkLst>
        </pc:spChg>
        <pc:spChg chg="mod">
          <ac:chgData name="Thomas Stensitzki" userId="75cafe6b-2f2a-469b-85c4-eec3b9c972ba" providerId="ADAL" clId="{06E14ABF-FC4C-4B98-B2A4-DF762ED946F2}" dt="2019-04-02T17:26:05.474" v="1171"/>
          <ac:spMkLst>
            <pc:docMk/>
            <pc:sldMk cId="615471493" sldId="291"/>
            <ac:spMk id="21" creationId="{586FDDAC-82BE-4AD5-8EAA-8D69657E4D6E}"/>
          </ac:spMkLst>
        </pc:spChg>
      </pc:sldChg>
      <pc:sldChg chg="modSp modNotes">
        <pc:chgData name="Thomas Stensitzki" userId="75cafe6b-2f2a-469b-85c4-eec3b9c972ba" providerId="ADAL" clId="{06E14ABF-FC4C-4B98-B2A4-DF762ED946F2}" dt="2019-04-02T20:09:17.046" v="4184" actId="207"/>
        <pc:sldMkLst>
          <pc:docMk/>
          <pc:sldMk cId="197286884" sldId="292"/>
        </pc:sldMkLst>
        <pc:spChg chg="mod">
          <ac:chgData name="Thomas Stensitzki" userId="75cafe6b-2f2a-469b-85c4-eec3b9c972ba" providerId="ADAL" clId="{06E14ABF-FC4C-4B98-B2A4-DF762ED946F2}" dt="2019-04-02T17:26:05.481" v="1174" actId="790"/>
          <ac:spMkLst>
            <pc:docMk/>
            <pc:sldMk cId="197286884" sldId="292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09:17.046" v="4184" actId="207"/>
          <ac:spMkLst>
            <pc:docMk/>
            <pc:sldMk cId="197286884" sldId="292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498" v="1176" actId="790"/>
          <ac:spMkLst>
            <pc:docMk/>
            <pc:sldMk cId="197286884" sldId="292"/>
            <ac:spMk id="4" creationId="{00000000-0000-0000-0000-000000000000}"/>
          </ac:spMkLst>
        </pc:spChg>
      </pc:sldChg>
      <pc:sldChg chg="modSp modNotes modNotesTx">
        <pc:chgData name="Thomas Stensitzki" userId="75cafe6b-2f2a-469b-85c4-eec3b9c972ba" providerId="ADAL" clId="{06E14ABF-FC4C-4B98-B2A4-DF762ED946F2}" dt="2019-04-02T20:16:52.018" v="4736" actId="6549"/>
        <pc:sldMkLst>
          <pc:docMk/>
          <pc:sldMk cId="983307875" sldId="293"/>
        </pc:sldMkLst>
        <pc:spChg chg="mod">
          <ac:chgData name="Thomas Stensitzki" userId="75cafe6b-2f2a-469b-85c4-eec3b9c972ba" providerId="ADAL" clId="{06E14ABF-FC4C-4B98-B2A4-DF762ED946F2}" dt="2019-04-02T17:26:05.504" v="1179" actId="790"/>
          <ac:spMkLst>
            <pc:docMk/>
            <pc:sldMk cId="983307875" sldId="293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16:52.018" v="4736" actId="6549"/>
          <ac:spMkLst>
            <pc:docMk/>
            <pc:sldMk cId="983307875" sldId="293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21" v="1181" actId="790"/>
          <ac:spMkLst>
            <pc:docMk/>
            <pc:sldMk cId="983307875" sldId="293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539" v="1188" actId="790"/>
        <pc:sldMkLst>
          <pc:docMk/>
          <pc:sldMk cId="2554480883" sldId="294"/>
        </pc:sldMkLst>
        <pc:spChg chg="mod">
          <ac:chgData name="Thomas Stensitzki" userId="75cafe6b-2f2a-469b-85c4-eec3b9c972ba" providerId="ADAL" clId="{06E14ABF-FC4C-4B98-B2A4-DF762ED946F2}" dt="2019-04-02T17:26:05.529" v="1184" actId="790"/>
          <ac:spMkLst>
            <pc:docMk/>
            <pc:sldMk cId="2554480883" sldId="294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32" v="1185" actId="790"/>
          <ac:spMkLst>
            <pc:docMk/>
            <pc:sldMk cId="2554480883" sldId="294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34" v="1186" actId="790"/>
          <ac:spMkLst>
            <pc:docMk/>
            <pc:sldMk cId="2554480883" sldId="294"/>
            <ac:spMk id="4" creationId="{00000000-0000-0000-0000-000000000000}"/>
          </ac:spMkLst>
        </pc:spChg>
      </pc:sldChg>
      <pc:sldChg chg="addSp delSp modSp add modNotes">
        <pc:chgData name="Thomas Stensitzki" userId="75cafe6b-2f2a-469b-85c4-eec3b9c972ba" providerId="ADAL" clId="{06E14ABF-FC4C-4B98-B2A4-DF762ED946F2}" dt="2019-04-03T17:24:54.400" v="6024" actId="6549"/>
        <pc:sldMkLst>
          <pc:docMk/>
          <pc:sldMk cId="3381329992" sldId="295"/>
        </pc:sldMkLst>
        <pc:spChg chg="del">
          <ac:chgData name="Thomas Stensitzki" userId="75cafe6b-2f2a-469b-85c4-eec3b9c972ba" providerId="ADAL" clId="{06E14ABF-FC4C-4B98-B2A4-DF762ED946F2}" dt="2019-04-02T17:20:38.484" v="773"/>
          <ac:spMkLst>
            <pc:docMk/>
            <pc:sldMk cId="3381329992" sldId="295"/>
            <ac:spMk id="2" creationId="{AB5198ED-F51C-4B28-B98E-E18AD827BCB8}"/>
          </ac:spMkLst>
        </pc:spChg>
        <pc:spChg chg="del">
          <ac:chgData name="Thomas Stensitzki" userId="75cafe6b-2f2a-469b-85c4-eec3b9c972ba" providerId="ADAL" clId="{06E14ABF-FC4C-4B98-B2A4-DF762ED946F2}" dt="2019-04-02T17:20:38.484" v="773"/>
          <ac:spMkLst>
            <pc:docMk/>
            <pc:sldMk cId="3381329992" sldId="295"/>
            <ac:spMk id="3" creationId="{5014A673-88EF-4B84-B786-0F60EC4EE257}"/>
          </ac:spMkLst>
        </pc:spChg>
        <pc:spChg chg="add mod">
          <ac:chgData name="Thomas Stensitzki" userId="75cafe6b-2f2a-469b-85c4-eec3b9c972ba" providerId="ADAL" clId="{06E14ABF-FC4C-4B98-B2A4-DF762ED946F2}" dt="2019-04-02T17:26:05.551" v="1193" actId="790"/>
          <ac:spMkLst>
            <pc:docMk/>
            <pc:sldMk cId="3381329992" sldId="295"/>
            <ac:spMk id="4" creationId="{F4E8168C-86D8-4764-974B-139AA233729C}"/>
          </ac:spMkLst>
        </pc:spChg>
        <pc:spChg chg="add mod">
          <ac:chgData name="Thomas Stensitzki" userId="75cafe6b-2f2a-469b-85c4-eec3b9c972ba" providerId="ADAL" clId="{06E14ABF-FC4C-4B98-B2A4-DF762ED946F2}" dt="2019-04-03T17:24:54.400" v="6024" actId="6549"/>
          <ac:spMkLst>
            <pc:docMk/>
            <pc:sldMk cId="3381329992" sldId="295"/>
            <ac:spMk id="5" creationId="{61BEA58E-DFFC-4110-AFCE-5D2631A90CDA}"/>
          </ac:spMkLst>
        </pc:spChg>
        <pc:spChg chg="add mod">
          <ac:chgData name="Thomas Stensitzki" userId="75cafe6b-2f2a-469b-85c4-eec3b9c972ba" providerId="ADAL" clId="{06E14ABF-FC4C-4B98-B2A4-DF762ED946F2}" dt="2019-04-02T17:26:05.567" v="1195" actId="790"/>
          <ac:spMkLst>
            <pc:docMk/>
            <pc:sldMk cId="3381329992" sldId="295"/>
            <ac:spMk id="6" creationId="{13543927-97F9-4ACA-A09F-405445E1E291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23:42.013" v="5245" actId="6549"/>
        <pc:sldMkLst>
          <pc:docMk/>
          <pc:sldMk cId="759766632" sldId="296"/>
        </pc:sldMkLst>
        <pc:spChg chg="mod">
          <ac:chgData name="Thomas Stensitzki" userId="75cafe6b-2f2a-469b-85c4-eec3b9c972ba" providerId="ADAL" clId="{06E14ABF-FC4C-4B98-B2A4-DF762ED946F2}" dt="2019-04-02T17:26:05.575" v="1198" actId="790"/>
          <ac:spMkLst>
            <pc:docMk/>
            <pc:sldMk cId="759766632" sldId="296"/>
            <ac:spMk id="4" creationId="{F4E8168C-86D8-4764-974B-139AA233729C}"/>
          </ac:spMkLst>
        </pc:spChg>
        <pc:spChg chg="mod">
          <ac:chgData name="Thomas Stensitzki" userId="75cafe6b-2f2a-469b-85c4-eec3b9c972ba" providerId="ADAL" clId="{06E14ABF-FC4C-4B98-B2A4-DF762ED946F2}" dt="2019-04-02T20:23:42.013" v="5245" actId="6549"/>
          <ac:spMkLst>
            <pc:docMk/>
            <pc:sldMk cId="759766632" sldId="296"/>
            <ac:spMk id="5" creationId="{61BEA58E-DFFC-4110-AFCE-5D2631A90CDA}"/>
          </ac:spMkLst>
        </pc:spChg>
        <pc:spChg chg="mod">
          <ac:chgData name="Thomas Stensitzki" userId="75cafe6b-2f2a-469b-85c4-eec3b9c972ba" providerId="ADAL" clId="{06E14ABF-FC4C-4B98-B2A4-DF762ED946F2}" dt="2019-04-02T17:26:05.587" v="1200" actId="790"/>
          <ac:spMkLst>
            <pc:docMk/>
            <pc:sldMk cId="759766632" sldId="296"/>
            <ac:spMk id="6" creationId="{13543927-97F9-4ACA-A09F-405445E1E291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27:35.571" v="5402" actId="114"/>
        <pc:sldMkLst>
          <pc:docMk/>
          <pc:sldMk cId="1044294694" sldId="297"/>
        </pc:sldMkLst>
        <pc:spChg chg="mod">
          <ac:chgData name="Thomas Stensitzki" userId="75cafe6b-2f2a-469b-85c4-eec3b9c972ba" providerId="ADAL" clId="{06E14ABF-FC4C-4B98-B2A4-DF762ED946F2}" dt="2019-04-02T17:26:05.594" v="1203" actId="790"/>
          <ac:spMkLst>
            <pc:docMk/>
            <pc:sldMk cId="1044294694" sldId="297"/>
            <ac:spMk id="2" creationId="{67557B84-7964-4E8C-99E8-869B5367454A}"/>
          </ac:spMkLst>
        </pc:spChg>
        <pc:spChg chg="mod">
          <ac:chgData name="Thomas Stensitzki" userId="75cafe6b-2f2a-469b-85c4-eec3b9c972ba" providerId="ADAL" clId="{06E14ABF-FC4C-4B98-B2A4-DF762ED946F2}" dt="2019-04-02T20:27:35.571" v="5402" actId="114"/>
          <ac:spMkLst>
            <pc:docMk/>
            <pc:sldMk cId="1044294694" sldId="297"/>
            <ac:spMk id="3" creationId="{82E5BAEE-3E2D-4A96-9FB8-4368335D0814}"/>
          </ac:spMkLst>
        </pc:spChg>
        <pc:spChg chg="mod">
          <ac:chgData name="Thomas Stensitzki" userId="75cafe6b-2f2a-469b-85c4-eec3b9c972ba" providerId="ADAL" clId="{06E14ABF-FC4C-4B98-B2A4-DF762ED946F2}" dt="2019-04-02T17:26:05.602" v="1205" actId="790"/>
          <ac:spMkLst>
            <pc:docMk/>
            <pc:sldMk cId="1044294694" sldId="297"/>
            <ac:spMk id="4" creationId="{CB5F7625-39B3-42C6-A622-9F45CF6A4AEC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32:26.674" v="6014" actId="6549"/>
        <pc:sldMkLst>
          <pc:docMk/>
          <pc:sldMk cId="4146826759" sldId="298"/>
        </pc:sldMkLst>
        <pc:spChg chg="mod">
          <ac:chgData name="Thomas Stensitzki" userId="75cafe6b-2f2a-469b-85c4-eec3b9c972ba" providerId="ADAL" clId="{06E14ABF-FC4C-4B98-B2A4-DF762ED946F2}" dt="2019-04-02T17:26:05.610" v="1208" actId="790"/>
          <ac:spMkLst>
            <pc:docMk/>
            <pc:sldMk cId="4146826759" sldId="298"/>
            <ac:spMk id="2" creationId="{0B44876A-D8F8-4F3E-BB4D-D6A45D3598CE}"/>
          </ac:spMkLst>
        </pc:spChg>
        <pc:spChg chg="mod">
          <ac:chgData name="Thomas Stensitzki" userId="75cafe6b-2f2a-469b-85c4-eec3b9c972ba" providerId="ADAL" clId="{06E14ABF-FC4C-4B98-B2A4-DF762ED946F2}" dt="2019-04-02T20:32:26.674" v="6014" actId="6549"/>
          <ac:spMkLst>
            <pc:docMk/>
            <pc:sldMk cId="4146826759" sldId="298"/>
            <ac:spMk id="3" creationId="{B8580189-4D05-4205-B50C-7CECD16F0152}"/>
          </ac:spMkLst>
        </pc:spChg>
        <pc:spChg chg="mod">
          <ac:chgData name="Thomas Stensitzki" userId="75cafe6b-2f2a-469b-85c4-eec3b9c972ba" providerId="ADAL" clId="{06E14ABF-FC4C-4B98-B2A4-DF762ED946F2}" dt="2019-04-02T17:26:05.627" v="1210" actId="790"/>
          <ac:spMkLst>
            <pc:docMk/>
            <pc:sldMk cId="4146826759" sldId="298"/>
            <ac:spMk id="4" creationId="{50A5B977-E1C4-40BB-A647-64DB6D6089C7}"/>
          </ac:spMkLst>
        </pc:spChg>
      </pc:sldChg>
      <pc:sldChg chg="modSp add">
        <pc:chgData name="Thomas Stensitzki" userId="75cafe6b-2f2a-469b-85c4-eec3b9c972ba" providerId="ADAL" clId="{06E14ABF-FC4C-4B98-B2A4-DF762ED946F2}" dt="2019-04-02T17:28:17.209" v="1246"/>
        <pc:sldMkLst>
          <pc:docMk/>
          <pc:sldMk cId="887372333" sldId="299"/>
        </pc:sldMkLst>
        <pc:spChg chg="mod">
          <ac:chgData name="Thomas Stensitzki" userId="75cafe6b-2f2a-469b-85c4-eec3b9c972ba" providerId="ADAL" clId="{06E14ABF-FC4C-4B98-B2A4-DF762ED946F2}" dt="2019-04-02T17:28:08.224" v="1245" actId="20577"/>
          <ac:spMkLst>
            <pc:docMk/>
            <pc:sldMk cId="887372333" sldId="299"/>
            <ac:spMk id="2" creationId="{E97F6622-98C7-4F70-8DFC-DC9218D763B8}"/>
          </ac:spMkLst>
        </pc:spChg>
        <pc:spChg chg="mod">
          <ac:chgData name="Thomas Stensitzki" userId="75cafe6b-2f2a-469b-85c4-eec3b9c972ba" providerId="ADAL" clId="{06E14ABF-FC4C-4B98-B2A4-DF762ED946F2}" dt="2019-04-02T17:28:17.209" v="1246"/>
          <ac:spMkLst>
            <pc:docMk/>
            <pc:sldMk cId="887372333" sldId="299"/>
            <ac:spMk id="3" creationId="{9FD72DDF-88A9-4311-B841-AAB5B5F54ECA}"/>
          </ac:spMkLst>
        </pc:spChg>
      </pc:sldChg>
      <pc:sldChg chg="addSp delSp modSp add modAnim">
        <pc:chgData name="Thomas Stensitzki" userId="75cafe6b-2f2a-469b-85c4-eec3b9c972ba" providerId="ADAL" clId="{06E14ABF-FC4C-4B98-B2A4-DF762ED946F2}" dt="2019-04-02T17:31:18.306" v="1326" actId="207"/>
        <pc:sldMkLst>
          <pc:docMk/>
          <pc:sldMk cId="2170765889" sldId="300"/>
        </pc:sldMkLst>
        <pc:spChg chg="mod">
          <ac:chgData name="Thomas Stensitzki" userId="75cafe6b-2f2a-469b-85c4-eec3b9c972ba" providerId="ADAL" clId="{06E14ABF-FC4C-4B98-B2A4-DF762ED946F2}" dt="2019-04-02T17:30:39.017" v="1290" actId="20577"/>
          <ac:spMkLst>
            <pc:docMk/>
            <pc:sldMk cId="2170765889" sldId="300"/>
            <ac:spMk id="2" creationId="{FCD1E8AB-75DE-4796-A772-404B2AF1A0BC}"/>
          </ac:spMkLst>
        </pc:spChg>
        <pc:spChg chg="del">
          <ac:chgData name="Thomas Stensitzki" userId="75cafe6b-2f2a-469b-85c4-eec3b9c972ba" providerId="ADAL" clId="{06E14ABF-FC4C-4B98-B2A4-DF762ED946F2}" dt="2019-04-02T17:30:55.707" v="1324" actId="478"/>
          <ac:spMkLst>
            <pc:docMk/>
            <pc:sldMk cId="2170765889" sldId="300"/>
            <ac:spMk id="3" creationId="{FCFCA490-F41D-4D1E-90C1-BD8731EC30AE}"/>
          </ac:spMkLst>
        </pc:spChg>
        <pc:spChg chg="mod">
          <ac:chgData name="Thomas Stensitzki" userId="75cafe6b-2f2a-469b-85c4-eec3b9c972ba" providerId="ADAL" clId="{06E14ABF-FC4C-4B98-B2A4-DF762ED946F2}" dt="2019-04-02T17:30:51.802" v="1323" actId="20577"/>
          <ac:spMkLst>
            <pc:docMk/>
            <pc:sldMk cId="2170765889" sldId="300"/>
            <ac:spMk id="4" creationId="{3F298FCD-C00F-4DC6-BAE9-5E2A229F1D0C}"/>
          </ac:spMkLst>
        </pc:spChg>
        <pc:spChg chg="add mod">
          <ac:chgData name="Thomas Stensitzki" userId="75cafe6b-2f2a-469b-85c4-eec3b9c972ba" providerId="ADAL" clId="{06E14ABF-FC4C-4B98-B2A4-DF762ED946F2}" dt="2019-04-02T17:31:18.306" v="1326" actId="207"/>
          <ac:spMkLst>
            <pc:docMk/>
            <pc:sldMk cId="2170765889" sldId="300"/>
            <ac:spMk id="6" creationId="{F9F5E7E9-8474-4A1E-AE05-65D2CD7E7A69}"/>
          </ac:spMkLst>
        </pc:spChg>
        <pc:spChg chg="add mod">
          <ac:chgData name="Thomas Stensitzki" userId="75cafe6b-2f2a-469b-85c4-eec3b9c972ba" providerId="ADAL" clId="{06E14ABF-FC4C-4B98-B2A4-DF762ED946F2}" dt="2019-04-02T17:31:18.306" v="1326" actId="207"/>
          <ac:spMkLst>
            <pc:docMk/>
            <pc:sldMk cId="2170765889" sldId="300"/>
            <ac:spMk id="7" creationId="{008B1113-1C85-4F5F-9737-1A5CDE5EB6AD}"/>
          </ac:spMkLst>
        </pc:spChg>
        <pc:spChg chg="add">
          <ac:chgData name="Thomas Stensitzki" userId="75cafe6b-2f2a-469b-85c4-eec3b9c972ba" providerId="ADAL" clId="{06E14ABF-FC4C-4B98-B2A4-DF762ED946F2}" dt="2019-04-02T17:31:05.683" v="1325"/>
          <ac:spMkLst>
            <pc:docMk/>
            <pc:sldMk cId="2170765889" sldId="300"/>
            <ac:spMk id="10" creationId="{CF95394A-2061-4326-B6F3-389D871D6F85}"/>
          </ac:spMkLst>
        </pc:sp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5" creationId="{BAB7E718-BF62-4DE0-9296-C469A9AC8207}"/>
          </ac:picMkLst>
        </pc:pic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8" creationId="{6191F2A9-33C0-4AC8-B9AB-69B4A58C129A}"/>
          </ac:picMkLst>
        </pc:pic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9" creationId="{25639242-9687-4295-BE5F-F7F9AC5CC830}"/>
          </ac:picMkLst>
        </pc:picChg>
      </pc:sldChg>
      <pc:sldChg chg="modSp add">
        <pc:chgData name="Thomas Stensitzki" userId="75cafe6b-2f2a-469b-85c4-eec3b9c972ba" providerId="ADAL" clId="{06E14ABF-FC4C-4B98-B2A4-DF762ED946F2}" dt="2019-04-02T17:34:10.267" v="1346" actId="20577"/>
        <pc:sldMkLst>
          <pc:docMk/>
          <pc:sldMk cId="2659899239" sldId="301"/>
        </pc:sldMkLst>
        <pc:spChg chg="mod">
          <ac:chgData name="Thomas Stensitzki" userId="75cafe6b-2f2a-469b-85c4-eec3b9c972ba" providerId="ADAL" clId="{06E14ABF-FC4C-4B98-B2A4-DF762ED946F2}" dt="2019-04-02T17:33:54.552" v="1342" actId="20577"/>
          <ac:spMkLst>
            <pc:docMk/>
            <pc:sldMk cId="2659899239" sldId="301"/>
            <ac:spMk id="2" creationId="{6E7C46E8-08BA-473F-927D-A8D89EF2786C}"/>
          </ac:spMkLst>
        </pc:spChg>
        <pc:spChg chg="mod">
          <ac:chgData name="Thomas Stensitzki" userId="75cafe6b-2f2a-469b-85c4-eec3b9c972ba" providerId="ADAL" clId="{06E14ABF-FC4C-4B98-B2A4-DF762ED946F2}" dt="2019-04-02T17:34:10.267" v="1346" actId="20577"/>
          <ac:spMkLst>
            <pc:docMk/>
            <pc:sldMk cId="2659899239" sldId="301"/>
            <ac:spMk id="3" creationId="{607F14A2-830C-404D-AA4E-EA014C520758}"/>
          </ac:spMkLst>
        </pc:spChg>
      </pc:sldChg>
    </pc:docChg>
  </pc:docChgLst>
  <pc:docChgLst>
    <pc:chgData name="Thomas Stensitzki" userId="75cafe6b-2f2a-469b-85c4-eec3b9c972ba" providerId="ADAL" clId="{4D7AFE4C-0A8E-423F-85F3-A20F03F02D67}"/>
    <pc:docChg chg="undo custSel modSld">
      <pc:chgData name="Thomas Stensitzki" userId="75cafe6b-2f2a-469b-85c4-eec3b9c972ba" providerId="ADAL" clId="{4D7AFE4C-0A8E-423F-85F3-A20F03F02D67}" dt="2022-05-14T08:12:11.962" v="190" actId="6549"/>
      <pc:docMkLst>
        <pc:docMk/>
      </pc:docMkLst>
      <pc:sldChg chg="modSp mod">
        <pc:chgData name="Thomas Stensitzki" userId="75cafe6b-2f2a-469b-85c4-eec3b9c972ba" providerId="ADAL" clId="{4D7AFE4C-0A8E-423F-85F3-A20F03F02D67}" dt="2022-05-14T08:12:11.962" v="190" actId="6549"/>
        <pc:sldMkLst>
          <pc:docMk/>
          <pc:sldMk cId="353304963" sldId="256"/>
        </pc:sldMkLst>
        <pc:spChg chg="mod">
          <ac:chgData name="Thomas Stensitzki" userId="75cafe6b-2f2a-469b-85c4-eec3b9c972ba" providerId="ADAL" clId="{4D7AFE4C-0A8E-423F-85F3-A20F03F02D67}" dt="2022-05-11T08:56:02.573" v="1" actId="6549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4D7AFE4C-0A8E-423F-85F3-A20F03F02D67}" dt="2022-05-11T08:56:10.360" v="15" actId="6549"/>
          <ac:spMkLst>
            <pc:docMk/>
            <pc:sldMk cId="353304963" sldId="256"/>
            <ac:spMk id="3" creationId="{00000000-0000-0000-0000-000000000000}"/>
          </ac:spMkLst>
        </pc:spChg>
        <pc:spChg chg="mod">
          <ac:chgData name="Thomas Stensitzki" userId="75cafe6b-2f2a-469b-85c4-eec3b9c972ba" providerId="ADAL" clId="{4D7AFE4C-0A8E-423F-85F3-A20F03F02D67}" dt="2022-05-14T08:12:11.962" v="190" actId="6549"/>
          <ac:spMkLst>
            <pc:docMk/>
            <pc:sldMk cId="353304963" sldId="256"/>
            <ac:spMk id="4" creationId="{96C4C99C-DAD8-4CA7-9932-EEBDC4A8C97C}"/>
          </ac:spMkLst>
        </pc:spChg>
      </pc:sldChg>
      <pc:sldChg chg="modSp mod modAnim">
        <pc:chgData name="Thomas Stensitzki" userId="75cafe6b-2f2a-469b-85c4-eec3b9c972ba" providerId="ADAL" clId="{4D7AFE4C-0A8E-423F-85F3-A20F03F02D67}" dt="2022-05-12T06:56:57.841" v="189" actId="1036"/>
        <pc:sldMkLst>
          <pc:docMk/>
          <pc:sldMk cId="2726485231" sldId="284"/>
        </pc:sldMkLst>
        <pc:spChg chg="mod">
          <ac:chgData name="Thomas Stensitzki" userId="75cafe6b-2f2a-469b-85c4-eec3b9c972ba" providerId="ADAL" clId="{4D7AFE4C-0A8E-423F-85F3-A20F03F02D67}" dt="2022-05-12T06:56:49.881" v="171" actId="6549"/>
          <ac:spMkLst>
            <pc:docMk/>
            <pc:sldMk cId="2726485231" sldId="284"/>
            <ac:spMk id="3" creationId="{852D7D7E-BA81-48A9-8091-7743702661A8}"/>
          </ac:spMkLst>
        </pc:spChg>
        <pc:picChg chg="mod">
          <ac:chgData name="Thomas Stensitzki" userId="75cafe6b-2f2a-469b-85c4-eec3b9c972ba" providerId="ADAL" clId="{4D7AFE4C-0A8E-423F-85F3-A20F03F02D67}" dt="2022-05-12T06:56:57.841" v="189" actId="1036"/>
          <ac:picMkLst>
            <pc:docMk/>
            <pc:sldMk cId="2726485231" sldId="284"/>
            <ac:picMk id="12" creationId="{9FAA32B2-BA7D-48E4-9293-9C6D72FBB96F}"/>
          </ac:picMkLst>
        </pc:picChg>
      </pc:sldChg>
      <pc:sldChg chg="modSp mod">
        <pc:chgData name="Thomas Stensitzki" userId="75cafe6b-2f2a-469b-85c4-eec3b9c972ba" providerId="ADAL" clId="{4D7AFE4C-0A8E-423F-85F3-A20F03F02D67}" dt="2022-05-11T09:05:38.520" v="34" actId="6549"/>
        <pc:sldMkLst>
          <pc:docMk/>
          <pc:sldMk cId="848503523" sldId="286"/>
        </pc:sldMkLst>
        <pc:spChg chg="mod">
          <ac:chgData name="Thomas Stensitzki" userId="75cafe6b-2f2a-469b-85c4-eec3b9c972ba" providerId="ADAL" clId="{4D7AFE4C-0A8E-423F-85F3-A20F03F02D67}" dt="2022-05-11T09:05:38.520" v="34" actId="6549"/>
          <ac:spMkLst>
            <pc:docMk/>
            <pc:sldMk cId="848503523" sldId="286"/>
            <ac:spMk id="2" creationId="{65E62FD1-8696-4A34-B061-3373BFCBD06C}"/>
          </ac:spMkLst>
        </pc:spChg>
        <pc:spChg chg="mod">
          <ac:chgData name="Thomas Stensitzki" userId="75cafe6b-2f2a-469b-85c4-eec3b9c972ba" providerId="ADAL" clId="{4D7AFE4C-0A8E-423F-85F3-A20F03F02D67}" dt="2022-05-11T09:04:14.038" v="29" actId="6549"/>
          <ac:spMkLst>
            <pc:docMk/>
            <pc:sldMk cId="848503523" sldId="286"/>
            <ac:spMk id="3" creationId="{5A9BE1F8-07C8-4A22-93C8-5725DE760CD3}"/>
          </ac:spMkLst>
        </pc:spChg>
      </pc:sldChg>
      <pc:sldChg chg="modSp mod">
        <pc:chgData name="Thomas Stensitzki" userId="75cafe6b-2f2a-469b-85c4-eec3b9c972ba" providerId="ADAL" clId="{4D7AFE4C-0A8E-423F-85F3-A20F03F02D67}" dt="2022-05-11T09:04:54.348" v="32"/>
        <pc:sldMkLst>
          <pc:docMk/>
          <pc:sldMk cId="512821701" sldId="298"/>
        </pc:sldMkLst>
        <pc:spChg chg="mod">
          <ac:chgData name="Thomas Stensitzki" userId="75cafe6b-2f2a-469b-85c4-eec3b9c972ba" providerId="ADAL" clId="{4D7AFE4C-0A8E-423F-85F3-A20F03F02D67}" dt="2022-05-11T09:04:54.348" v="32"/>
          <ac:spMkLst>
            <pc:docMk/>
            <pc:sldMk cId="512821701" sldId="298"/>
            <ac:spMk id="8" creationId="{7753695D-B6FA-4781-8B90-054226157255}"/>
          </ac:spMkLst>
        </pc:spChg>
        <pc:spChg chg="mod">
          <ac:chgData name="Thomas Stensitzki" userId="75cafe6b-2f2a-469b-85c4-eec3b9c972ba" providerId="ADAL" clId="{4D7AFE4C-0A8E-423F-85F3-A20F03F02D67}" dt="2022-05-11T09:04:30.623" v="31"/>
          <ac:spMkLst>
            <pc:docMk/>
            <pc:sldMk cId="512821701" sldId="298"/>
            <ac:spMk id="9" creationId="{7ACD5D95-6785-48AB-A08F-F511798021FE}"/>
          </ac:spMkLst>
        </pc:spChg>
      </pc:sldChg>
      <pc:sldChg chg="modSp mod modShow">
        <pc:chgData name="Thomas Stensitzki" userId="75cafe6b-2f2a-469b-85c4-eec3b9c972ba" providerId="ADAL" clId="{4D7AFE4C-0A8E-423F-85F3-A20F03F02D67}" dt="2022-05-11T08:56:32.642" v="22" actId="729"/>
        <pc:sldMkLst>
          <pc:docMk/>
          <pc:sldMk cId="612878314" sldId="299"/>
        </pc:sldMkLst>
        <pc:spChg chg="mod">
          <ac:chgData name="Thomas Stensitzki" userId="75cafe6b-2f2a-469b-85c4-eec3b9c972ba" providerId="ADAL" clId="{4D7AFE4C-0A8E-423F-85F3-A20F03F02D67}" dt="2022-05-11T08:56:20.365" v="18" actId="20577"/>
          <ac:spMkLst>
            <pc:docMk/>
            <pc:sldMk cId="612878314" sldId="299"/>
            <ac:spMk id="8" creationId="{7753695D-B6FA-4781-8B90-054226157255}"/>
          </ac:spMkLst>
        </pc:spChg>
        <pc:spChg chg="mod">
          <ac:chgData name="Thomas Stensitzki" userId="75cafe6b-2f2a-469b-85c4-eec3b9c972ba" providerId="ADAL" clId="{4D7AFE4C-0A8E-423F-85F3-A20F03F02D67}" dt="2022-05-11T08:56:25.493" v="21" actId="20577"/>
          <ac:spMkLst>
            <pc:docMk/>
            <pc:sldMk cId="612878314" sldId="299"/>
            <ac:spMk id="9" creationId="{7ACD5D95-6785-48AB-A08F-F511798021FE}"/>
          </ac:spMkLst>
        </pc:spChg>
      </pc:sldChg>
      <pc:sldChg chg="mod modShow">
        <pc:chgData name="Thomas Stensitzki" userId="75cafe6b-2f2a-469b-85c4-eec3b9c972ba" providerId="ADAL" clId="{4D7AFE4C-0A8E-423F-85F3-A20F03F02D67}" dt="2022-05-11T08:56:32.642" v="22" actId="729"/>
        <pc:sldMkLst>
          <pc:docMk/>
          <pc:sldMk cId="165395742" sldId="301"/>
        </pc:sldMkLst>
      </pc:sldChg>
      <pc:sldChg chg="addSp delSp modSp mod">
        <pc:chgData name="Thomas Stensitzki" userId="75cafe6b-2f2a-469b-85c4-eec3b9c972ba" providerId="ADAL" clId="{4D7AFE4C-0A8E-423F-85F3-A20F03F02D67}" dt="2022-05-12T06:52:40.873" v="43" actId="1076"/>
        <pc:sldMkLst>
          <pc:docMk/>
          <pc:sldMk cId="925377618" sldId="302"/>
        </pc:sldMkLst>
        <pc:spChg chg="add del">
          <ac:chgData name="Thomas Stensitzki" userId="75cafe6b-2f2a-469b-85c4-eec3b9c972ba" providerId="ADAL" clId="{4D7AFE4C-0A8E-423F-85F3-A20F03F02D67}" dt="2022-05-12T06:51:05.200" v="37" actId="22"/>
          <ac:spMkLst>
            <pc:docMk/>
            <pc:sldMk cId="925377618" sldId="302"/>
            <ac:spMk id="7" creationId="{482BA98F-E1D2-4D8F-8224-9AFCD40D491A}"/>
          </ac:spMkLst>
        </pc:spChg>
        <pc:picChg chg="add mod">
          <ac:chgData name="Thomas Stensitzki" userId="75cafe6b-2f2a-469b-85c4-eec3b9c972ba" providerId="ADAL" clId="{4D7AFE4C-0A8E-423F-85F3-A20F03F02D67}" dt="2022-05-12T06:51:25.122" v="40" actId="1076"/>
          <ac:picMkLst>
            <pc:docMk/>
            <pc:sldMk cId="925377618" sldId="302"/>
            <ac:picMk id="6" creationId="{13F8EC36-A2E5-4D1A-8F05-1D605B3E28E0}"/>
          </ac:picMkLst>
        </pc:picChg>
        <pc:picChg chg="del">
          <ac:chgData name="Thomas Stensitzki" userId="75cafe6b-2f2a-469b-85c4-eec3b9c972ba" providerId="ADAL" clId="{4D7AFE4C-0A8E-423F-85F3-A20F03F02D67}" dt="2022-05-12T06:51:03.095" v="35" actId="478"/>
          <ac:picMkLst>
            <pc:docMk/>
            <pc:sldMk cId="925377618" sldId="302"/>
            <ac:picMk id="10" creationId="{66D29072-5519-4F82-9C82-41D54F54516F}"/>
          </ac:picMkLst>
        </pc:picChg>
        <pc:picChg chg="add mod">
          <ac:chgData name="Thomas Stensitzki" userId="75cafe6b-2f2a-469b-85c4-eec3b9c972ba" providerId="ADAL" clId="{4D7AFE4C-0A8E-423F-85F3-A20F03F02D67}" dt="2022-05-12T06:52:40.873" v="43" actId="1076"/>
          <ac:picMkLst>
            <pc:docMk/>
            <pc:sldMk cId="925377618" sldId="302"/>
            <ac:picMk id="11" creationId="{A421575D-DD5A-49E8-B6D6-A470C2E07F20}"/>
          </ac:picMkLst>
        </pc:picChg>
      </pc:sldChg>
    </pc:docChg>
  </pc:docChgLst>
  <pc:docChgLst>
    <pc:chgData name="Thomas Stensitzki" userId="75cafe6b-2f2a-469b-85c4-eec3b9c972ba" providerId="ADAL" clId="{C148DAB4-983B-433E-B4CE-5BFA2739BE14}"/>
    <pc:docChg chg="undo custSel addSld delSld modSld sldOrd addSection modSection">
      <pc:chgData name="Thomas Stensitzki" userId="75cafe6b-2f2a-469b-85c4-eec3b9c972ba" providerId="ADAL" clId="{C148DAB4-983B-433E-B4CE-5BFA2739BE14}" dt="2022-03-03T20:02:12.574" v="442" actId="20577"/>
      <pc:docMkLst>
        <pc:docMk/>
      </pc:docMkLst>
      <pc:sldChg chg="addSp modSp mod modTransition">
        <pc:chgData name="Thomas Stensitzki" userId="75cafe6b-2f2a-469b-85c4-eec3b9c972ba" providerId="ADAL" clId="{C148DAB4-983B-433E-B4CE-5BFA2739BE14}" dt="2022-03-03T16:54:29.390" v="441" actId="5793"/>
        <pc:sldMkLst>
          <pc:docMk/>
          <pc:sldMk cId="353304963" sldId="256"/>
        </pc:sldMkLst>
        <pc:spChg chg="mod">
          <ac:chgData name="Thomas Stensitzki" userId="75cafe6b-2f2a-469b-85c4-eec3b9c972ba" providerId="ADAL" clId="{C148DAB4-983B-433E-B4CE-5BFA2739BE14}" dt="2022-03-02T17:33:18.929" v="330" actId="20577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C148DAB4-983B-433E-B4CE-5BFA2739BE14}" dt="2022-03-03T16:45:12.531" v="397" actId="6549"/>
          <ac:spMkLst>
            <pc:docMk/>
            <pc:sldMk cId="353304963" sldId="256"/>
            <ac:spMk id="3" creationId="{00000000-0000-0000-0000-000000000000}"/>
          </ac:spMkLst>
        </pc:spChg>
        <pc:spChg chg="add mod">
          <ac:chgData name="Thomas Stensitzki" userId="75cafe6b-2f2a-469b-85c4-eec3b9c972ba" providerId="ADAL" clId="{C148DAB4-983B-433E-B4CE-5BFA2739BE14}" dt="2022-03-03T16:54:29.390" v="441" actId="5793"/>
          <ac:spMkLst>
            <pc:docMk/>
            <pc:sldMk cId="353304963" sldId="256"/>
            <ac:spMk id="4" creationId="{96C4C99C-DAD8-4CA7-9932-EEBDC4A8C97C}"/>
          </ac:spMkLst>
        </pc:spChg>
      </pc:sldChg>
      <pc:sldChg chg="del">
        <pc:chgData name="Thomas Stensitzki" userId="75cafe6b-2f2a-469b-85c4-eec3b9c972ba" providerId="ADAL" clId="{C148DAB4-983B-433E-B4CE-5BFA2739BE14}" dt="2022-03-02T17:08:24.421" v="25" actId="47"/>
        <pc:sldMkLst>
          <pc:docMk/>
          <pc:sldMk cId="3986585176" sldId="258"/>
        </pc:sldMkLst>
      </pc:sldChg>
      <pc:sldChg chg="modTransition">
        <pc:chgData name="Thomas Stensitzki" userId="75cafe6b-2f2a-469b-85c4-eec3b9c972ba" providerId="ADAL" clId="{C148DAB4-983B-433E-B4CE-5BFA2739BE14}" dt="2022-03-02T17:33:40.850" v="331"/>
        <pc:sldMkLst>
          <pc:docMk/>
          <pc:sldMk cId="1120448015" sldId="283"/>
        </pc:sldMkLst>
      </pc:sldChg>
      <pc:sldChg chg="addSp modSp mod modTransition modAnim">
        <pc:chgData name="Thomas Stensitzki" userId="75cafe6b-2f2a-469b-85c4-eec3b9c972ba" providerId="ADAL" clId="{C148DAB4-983B-433E-B4CE-5BFA2739BE14}" dt="2022-03-03T20:02:12.574" v="442" actId="20577"/>
        <pc:sldMkLst>
          <pc:docMk/>
          <pc:sldMk cId="2726485231" sldId="284"/>
        </pc:sldMkLst>
        <pc:spChg chg="mod">
          <ac:chgData name="Thomas Stensitzki" userId="75cafe6b-2f2a-469b-85c4-eec3b9c972ba" providerId="ADAL" clId="{C148DAB4-983B-433E-B4CE-5BFA2739BE14}" dt="2022-03-03T20:02:12.574" v="442" actId="20577"/>
          <ac:spMkLst>
            <pc:docMk/>
            <pc:sldMk cId="2726485231" sldId="284"/>
            <ac:spMk id="3" creationId="{852D7D7E-BA81-48A9-8091-7743702661A8}"/>
          </ac:spMkLst>
        </pc:spChg>
        <pc:spChg chg="add mod">
          <ac:chgData name="Thomas Stensitzki" userId="75cafe6b-2f2a-469b-85c4-eec3b9c972ba" providerId="ADAL" clId="{C148DAB4-983B-433E-B4CE-5BFA2739BE14}" dt="2022-03-02T17:16:00.961" v="169" actId="1076"/>
          <ac:spMkLst>
            <pc:docMk/>
            <pc:sldMk cId="2726485231" sldId="284"/>
            <ac:spMk id="5" creationId="{BFEE3B27-B07E-47D0-99D7-9C8BAD060EC2}"/>
          </ac:spMkLst>
        </pc:spChg>
        <pc:picChg chg="mod">
          <ac:chgData name="Thomas Stensitzki" userId="75cafe6b-2f2a-469b-85c4-eec3b9c972ba" providerId="ADAL" clId="{C148DAB4-983B-433E-B4CE-5BFA2739BE14}" dt="2022-03-02T17:10:57.237" v="33" actId="1076"/>
          <ac:picMkLst>
            <pc:docMk/>
            <pc:sldMk cId="2726485231" sldId="284"/>
            <ac:picMk id="12" creationId="{9FAA32B2-BA7D-48E4-9293-9C6D72FBB96F}"/>
          </ac:picMkLst>
        </pc:picChg>
      </pc:sldChg>
      <pc:sldChg chg="addSp delSp modSp add del mod ord modTransition delAnim modAnim">
        <pc:chgData name="Thomas Stensitzki" userId="75cafe6b-2f2a-469b-85c4-eec3b9c972ba" providerId="ADAL" clId="{C148DAB4-983B-433E-B4CE-5BFA2739BE14}" dt="2022-03-03T14:47:46.911" v="395"/>
        <pc:sldMkLst>
          <pc:docMk/>
          <pc:sldMk cId="1572723851" sldId="285"/>
        </pc:sldMkLst>
        <pc:spChg chg="mod">
          <ac:chgData name="Thomas Stensitzki" userId="75cafe6b-2f2a-469b-85c4-eec3b9c972ba" providerId="ADAL" clId="{C148DAB4-983B-433E-B4CE-5BFA2739BE14}" dt="2022-03-02T17:32:45.520" v="313" actId="20577"/>
          <ac:spMkLst>
            <pc:docMk/>
            <pc:sldMk cId="1572723851" sldId="285"/>
            <ac:spMk id="3" creationId="{76EC1D6E-0321-4DAA-889D-F932DA5F2EF8}"/>
          </ac:spMkLst>
        </pc:spChg>
        <pc:picChg chg="del">
          <ac:chgData name="Thomas Stensitzki" userId="75cafe6b-2f2a-469b-85c4-eec3b9c972ba" providerId="ADAL" clId="{C148DAB4-983B-433E-B4CE-5BFA2739BE14}" dt="2022-03-02T17:36:28.881" v="338" actId="478"/>
          <ac:picMkLst>
            <pc:docMk/>
            <pc:sldMk cId="1572723851" sldId="285"/>
            <ac:picMk id="7" creationId="{BD272D56-82CF-412B-91DB-C44598568C42}"/>
          </ac:picMkLst>
        </pc:picChg>
        <pc:picChg chg="add mod">
          <ac:chgData name="Thomas Stensitzki" userId="75cafe6b-2f2a-469b-85c4-eec3b9c972ba" providerId="ADAL" clId="{C148DAB4-983B-433E-B4CE-5BFA2739BE14}" dt="2022-03-02T17:38:00.672" v="345" actId="1440"/>
          <ac:picMkLst>
            <pc:docMk/>
            <pc:sldMk cId="1572723851" sldId="285"/>
            <ac:picMk id="9" creationId="{E28B5C00-703A-466F-BCBE-63798F01D3DB}"/>
          </ac:picMkLst>
        </pc:picChg>
      </pc:sldChg>
      <pc:sldChg chg="modSp mod modTransition">
        <pc:chgData name="Thomas Stensitzki" userId="75cafe6b-2f2a-469b-85c4-eec3b9c972ba" providerId="ADAL" clId="{C148DAB4-983B-433E-B4CE-5BFA2739BE14}" dt="2022-03-02T17:33:40.850" v="331"/>
        <pc:sldMkLst>
          <pc:docMk/>
          <pc:sldMk cId="848503523" sldId="286"/>
        </pc:sldMkLst>
        <pc:spChg chg="mod">
          <ac:chgData name="Thomas Stensitzki" userId="75cafe6b-2f2a-469b-85c4-eec3b9c972ba" providerId="ADAL" clId="{C148DAB4-983B-433E-B4CE-5BFA2739BE14}" dt="2022-03-02T17:06:52.068" v="17" actId="6549"/>
          <ac:spMkLst>
            <pc:docMk/>
            <pc:sldMk cId="848503523" sldId="286"/>
            <ac:spMk id="2" creationId="{65E62FD1-8696-4A34-B061-3373BFCBD06C}"/>
          </ac:spMkLst>
        </pc:spChg>
        <pc:spChg chg="mod">
          <ac:chgData name="Thomas Stensitzki" userId="75cafe6b-2f2a-469b-85c4-eec3b9c972ba" providerId="ADAL" clId="{C148DAB4-983B-433E-B4CE-5BFA2739BE14}" dt="2022-03-02T17:21:40.080" v="233" actId="6549"/>
          <ac:spMkLst>
            <pc:docMk/>
            <pc:sldMk cId="848503523" sldId="286"/>
            <ac:spMk id="3" creationId="{5A9BE1F8-07C8-4A22-93C8-5725DE760CD3}"/>
          </ac:spMkLst>
        </pc:spChg>
        <pc:spChg chg="mod">
          <ac:chgData name="Thomas Stensitzki" userId="75cafe6b-2f2a-469b-85c4-eec3b9c972ba" providerId="ADAL" clId="{C148DAB4-983B-433E-B4CE-5BFA2739BE14}" dt="2022-03-02T17:08:18.362" v="24" actId="1076"/>
          <ac:spMkLst>
            <pc:docMk/>
            <pc:sldMk cId="848503523" sldId="286"/>
            <ac:spMk id="5" creationId="{3060FA8B-3FE8-41AF-887D-70CB325A73FF}"/>
          </ac:spMkLst>
        </pc:spChg>
      </pc:sldChg>
      <pc:sldChg chg="modTransition">
        <pc:chgData name="Thomas Stensitzki" userId="75cafe6b-2f2a-469b-85c4-eec3b9c972ba" providerId="ADAL" clId="{C148DAB4-983B-433E-B4CE-5BFA2739BE14}" dt="2022-03-02T17:33:40.850" v="331"/>
        <pc:sldMkLst>
          <pc:docMk/>
          <pc:sldMk cId="1800322613" sldId="287"/>
        </pc:sldMkLst>
      </pc:sldChg>
      <pc:sldChg chg="del">
        <pc:chgData name="Thomas Stensitzki" userId="75cafe6b-2f2a-469b-85c4-eec3b9c972ba" providerId="ADAL" clId="{C148DAB4-983B-433E-B4CE-5BFA2739BE14}" dt="2022-03-02T17:08:24.421" v="25" actId="47"/>
        <pc:sldMkLst>
          <pc:docMk/>
          <pc:sldMk cId="1729807556" sldId="289"/>
        </pc:sldMkLst>
      </pc:sldChg>
      <pc:sldChg chg="del">
        <pc:chgData name="Thomas Stensitzki" userId="75cafe6b-2f2a-469b-85c4-eec3b9c972ba" providerId="ADAL" clId="{C148DAB4-983B-433E-B4CE-5BFA2739BE14}" dt="2022-03-02T17:08:29.161" v="27" actId="47"/>
        <pc:sldMkLst>
          <pc:docMk/>
          <pc:sldMk cId="1527107871" sldId="294"/>
        </pc:sldMkLst>
      </pc:sldChg>
      <pc:sldChg chg="del">
        <pc:chgData name="Thomas Stensitzki" userId="75cafe6b-2f2a-469b-85c4-eec3b9c972ba" providerId="ADAL" clId="{C148DAB4-983B-433E-B4CE-5BFA2739BE14}" dt="2022-03-02T17:08:24.421" v="25" actId="47"/>
        <pc:sldMkLst>
          <pc:docMk/>
          <pc:sldMk cId="1425809021" sldId="295"/>
        </pc:sldMkLst>
      </pc:sldChg>
      <pc:sldChg chg="del">
        <pc:chgData name="Thomas Stensitzki" userId="75cafe6b-2f2a-469b-85c4-eec3b9c972ba" providerId="ADAL" clId="{C148DAB4-983B-433E-B4CE-5BFA2739BE14}" dt="2022-03-02T17:08:26.057" v="26" actId="47"/>
        <pc:sldMkLst>
          <pc:docMk/>
          <pc:sldMk cId="2850902925" sldId="296"/>
        </pc:sldMkLst>
      </pc:sldChg>
      <pc:sldChg chg="del">
        <pc:chgData name="Thomas Stensitzki" userId="75cafe6b-2f2a-469b-85c4-eec3b9c972ba" providerId="ADAL" clId="{C148DAB4-983B-433E-B4CE-5BFA2739BE14}" dt="2022-03-02T17:08:24.421" v="25" actId="47"/>
        <pc:sldMkLst>
          <pc:docMk/>
          <pc:sldMk cId="3408516510" sldId="297"/>
        </pc:sldMkLst>
      </pc:sldChg>
      <pc:sldChg chg="modSp mod modTransition">
        <pc:chgData name="Thomas Stensitzki" userId="75cafe6b-2f2a-469b-85c4-eec3b9c972ba" providerId="ADAL" clId="{C148DAB4-983B-433E-B4CE-5BFA2739BE14}" dt="2022-03-02T17:33:40.850" v="331"/>
        <pc:sldMkLst>
          <pc:docMk/>
          <pc:sldMk cId="512821701" sldId="298"/>
        </pc:sldMkLst>
        <pc:spChg chg="mod">
          <ac:chgData name="Thomas Stensitzki" userId="75cafe6b-2f2a-469b-85c4-eec3b9c972ba" providerId="ADAL" clId="{C148DAB4-983B-433E-B4CE-5BFA2739BE14}" dt="2022-03-02T17:20:40.735" v="219" actId="20577"/>
          <ac:spMkLst>
            <pc:docMk/>
            <pc:sldMk cId="512821701" sldId="298"/>
            <ac:spMk id="8" creationId="{7753695D-B6FA-4781-8B90-054226157255}"/>
          </ac:spMkLst>
        </pc:spChg>
        <pc:spChg chg="mod">
          <ac:chgData name="Thomas Stensitzki" userId="75cafe6b-2f2a-469b-85c4-eec3b9c972ba" providerId="ADAL" clId="{C148DAB4-983B-433E-B4CE-5BFA2739BE14}" dt="2022-03-02T17:20:51.249" v="220"/>
          <ac:spMkLst>
            <pc:docMk/>
            <pc:sldMk cId="512821701" sldId="298"/>
            <ac:spMk id="9" creationId="{7ACD5D95-6785-48AB-A08F-F511798021FE}"/>
          </ac:spMkLst>
        </pc:spChg>
      </pc:sldChg>
      <pc:sldChg chg="modSp add mod ord modTransition">
        <pc:chgData name="Thomas Stensitzki" userId="75cafe6b-2f2a-469b-85c4-eec3b9c972ba" providerId="ADAL" clId="{C148DAB4-983B-433E-B4CE-5BFA2739BE14}" dt="2022-03-02T17:33:40.850" v="331"/>
        <pc:sldMkLst>
          <pc:docMk/>
          <pc:sldMk cId="612878314" sldId="299"/>
        </pc:sldMkLst>
        <pc:spChg chg="mod">
          <ac:chgData name="Thomas Stensitzki" userId="75cafe6b-2f2a-469b-85c4-eec3b9c972ba" providerId="ADAL" clId="{C148DAB4-983B-433E-B4CE-5BFA2739BE14}" dt="2022-03-02T17:21:17.475" v="229" actId="6549"/>
          <ac:spMkLst>
            <pc:docMk/>
            <pc:sldMk cId="612878314" sldId="299"/>
            <ac:spMk id="8" creationId="{7753695D-B6FA-4781-8B90-054226157255}"/>
          </ac:spMkLst>
        </pc:spChg>
        <pc:spChg chg="mod">
          <ac:chgData name="Thomas Stensitzki" userId="75cafe6b-2f2a-469b-85c4-eec3b9c972ba" providerId="ADAL" clId="{C148DAB4-983B-433E-B4CE-5BFA2739BE14}" dt="2022-03-02T17:21:26.634" v="230"/>
          <ac:spMkLst>
            <pc:docMk/>
            <pc:sldMk cId="612878314" sldId="299"/>
            <ac:spMk id="9" creationId="{7ACD5D95-6785-48AB-A08F-F511798021FE}"/>
          </ac:spMkLst>
        </pc:spChg>
      </pc:sldChg>
      <pc:sldChg chg="del">
        <pc:chgData name="Thomas Stensitzki" userId="75cafe6b-2f2a-469b-85c4-eec3b9c972ba" providerId="ADAL" clId="{C148DAB4-983B-433E-B4CE-5BFA2739BE14}" dt="2022-03-02T17:08:29.161" v="27" actId="47"/>
        <pc:sldMkLst>
          <pc:docMk/>
          <pc:sldMk cId="843565452" sldId="299"/>
        </pc:sldMkLst>
      </pc:sldChg>
      <pc:sldChg chg="addSp delSp modSp new mod modClrScheme chgLayout">
        <pc:chgData name="Thomas Stensitzki" userId="75cafe6b-2f2a-469b-85c4-eec3b9c972ba" providerId="ADAL" clId="{C148DAB4-983B-433E-B4CE-5BFA2739BE14}" dt="2022-03-02T17:34:07.537" v="333" actId="700"/>
        <pc:sldMkLst>
          <pc:docMk/>
          <pc:sldMk cId="254634099" sldId="300"/>
        </pc:sldMkLst>
        <pc:spChg chg="del mod ord">
          <ac:chgData name="Thomas Stensitzki" userId="75cafe6b-2f2a-469b-85c4-eec3b9c972ba" providerId="ADAL" clId="{C148DAB4-983B-433E-B4CE-5BFA2739BE14}" dt="2022-03-02T17:34:07.537" v="333" actId="700"/>
          <ac:spMkLst>
            <pc:docMk/>
            <pc:sldMk cId="254634099" sldId="300"/>
            <ac:spMk id="2" creationId="{3B786890-18F8-422A-8364-6D6361753E0B}"/>
          </ac:spMkLst>
        </pc:spChg>
        <pc:spChg chg="del">
          <ac:chgData name="Thomas Stensitzki" userId="75cafe6b-2f2a-469b-85c4-eec3b9c972ba" providerId="ADAL" clId="{C148DAB4-983B-433E-B4CE-5BFA2739BE14}" dt="2022-03-02T17:34:07.537" v="333" actId="700"/>
          <ac:spMkLst>
            <pc:docMk/>
            <pc:sldMk cId="254634099" sldId="300"/>
            <ac:spMk id="3" creationId="{32BB029C-B1FB-4591-86C5-CB330D5062E5}"/>
          </ac:spMkLst>
        </pc:spChg>
        <pc:spChg chg="del">
          <ac:chgData name="Thomas Stensitzki" userId="75cafe6b-2f2a-469b-85c4-eec3b9c972ba" providerId="ADAL" clId="{C148DAB4-983B-433E-B4CE-5BFA2739BE14}" dt="2022-03-02T17:34:07.537" v="333" actId="700"/>
          <ac:spMkLst>
            <pc:docMk/>
            <pc:sldMk cId="254634099" sldId="300"/>
            <ac:spMk id="4" creationId="{99459D8E-621D-4E69-A5F7-E8A26855007B}"/>
          </ac:spMkLst>
        </pc:spChg>
        <pc:spChg chg="add mod ord">
          <ac:chgData name="Thomas Stensitzki" userId="75cafe6b-2f2a-469b-85c4-eec3b9c972ba" providerId="ADAL" clId="{C148DAB4-983B-433E-B4CE-5BFA2739BE14}" dt="2022-03-02T17:34:07.537" v="333" actId="700"/>
          <ac:spMkLst>
            <pc:docMk/>
            <pc:sldMk cId="254634099" sldId="300"/>
            <ac:spMk id="5" creationId="{D7A2D598-B3FE-4D80-9241-7F9C19D61446}"/>
          </ac:spMkLst>
        </pc:spChg>
      </pc:sldChg>
      <pc:sldChg chg="del">
        <pc:chgData name="Thomas Stensitzki" userId="75cafe6b-2f2a-469b-85c4-eec3b9c972ba" providerId="ADAL" clId="{C148DAB4-983B-433E-B4CE-5BFA2739BE14}" dt="2022-03-02T17:08:26.057" v="26" actId="47"/>
        <pc:sldMkLst>
          <pc:docMk/>
          <pc:sldMk cId="4094364641" sldId="300"/>
        </pc:sldMkLst>
      </pc:sldChg>
      <pc:sldChg chg="addSp delSp modSp new mod modClrScheme chgLayout">
        <pc:chgData name="Thomas Stensitzki" userId="75cafe6b-2f2a-469b-85c4-eec3b9c972ba" providerId="ADAL" clId="{C148DAB4-983B-433E-B4CE-5BFA2739BE14}" dt="2022-03-02T17:34:12.442" v="335" actId="700"/>
        <pc:sldMkLst>
          <pc:docMk/>
          <pc:sldMk cId="165395742" sldId="301"/>
        </pc:sldMkLst>
        <pc:spChg chg="del mod ord">
          <ac:chgData name="Thomas Stensitzki" userId="75cafe6b-2f2a-469b-85c4-eec3b9c972ba" providerId="ADAL" clId="{C148DAB4-983B-433E-B4CE-5BFA2739BE14}" dt="2022-03-02T17:34:12.442" v="335" actId="700"/>
          <ac:spMkLst>
            <pc:docMk/>
            <pc:sldMk cId="165395742" sldId="301"/>
            <ac:spMk id="2" creationId="{1765B5F4-F891-4694-AA6C-72068F7670B3}"/>
          </ac:spMkLst>
        </pc:spChg>
        <pc:spChg chg="del">
          <ac:chgData name="Thomas Stensitzki" userId="75cafe6b-2f2a-469b-85c4-eec3b9c972ba" providerId="ADAL" clId="{C148DAB4-983B-433E-B4CE-5BFA2739BE14}" dt="2022-03-02T17:34:12.442" v="335" actId="700"/>
          <ac:spMkLst>
            <pc:docMk/>
            <pc:sldMk cId="165395742" sldId="301"/>
            <ac:spMk id="3" creationId="{4F090531-14BE-439B-AC12-05C89D134A4B}"/>
          </ac:spMkLst>
        </pc:spChg>
        <pc:spChg chg="del">
          <ac:chgData name="Thomas Stensitzki" userId="75cafe6b-2f2a-469b-85c4-eec3b9c972ba" providerId="ADAL" clId="{C148DAB4-983B-433E-B4CE-5BFA2739BE14}" dt="2022-03-02T17:34:12.442" v="335" actId="700"/>
          <ac:spMkLst>
            <pc:docMk/>
            <pc:sldMk cId="165395742" sldId="301"/>
            <ac:spMk id="4" creationId="{2FFC5113-E510-42C2-9193-B5FD2CB81E87}"/>
          </ac:spMkLst>
        </pc:spChg>
        <pc:spChg chg="add mod ord">
          <ac:chgData name="Thomas Stensitzki" userId="75cafe6b-2f2a-469b-85c4-eec3b9c972ba" providerId="ADAL" clId="{C148DAB4-983B-433E-B4CE-5BFA2739BE14}" dt="2022-03-02T17:34:12.442" v="335" actId="700"/>
          <ac:spMkLst>
            <pc:docMk/>
            <pc:sldMk cId="165395742" sldId="301"/>
            <ac:spMk id="5" creationId="{EF33DA07-BDE5-4D8B-B332-D6D77536E093}"/>
          </ac:spMkLst>
        </pc:spChg>
      </pc:sldChg>
      <pc:sldChg chg="del">
        <pc:chgData name="Thomas Stensitzki" userId="75cafe6b-2f2a-469b-85c4-eec3b9c972ba" providerId="ADAL" clId="{C148DAB4-983B-433E-B4CE-5BFA2739BE14}" dt="2022-03-02T17:08:26.057" v="26" actId="47"/>
        <pc:sldMkLst>
          <pc:docMk/>
          <pc:sldMk cId="2519074119" sldId="301"/>
        </pc:sldMkLst>
      </pc:sldChg>
      <pc:sldChg chg="addSp delSp modSp new mod modTransition">
        <pc:chgData name="Thomas Stensitzki" userId="75cafe6b-2f2a-469b-85c4-eec3b9c972ba" providerId="ADAL" clId="{C148DAB4-983B-433E-B4CE-5BFA2739BE14}" dt="2022-03-03T14:47:35.269" v="393"/>
        <pc:sldMkLst>
          <pc:docMk/>
          <pc:sldMk cId="925377618" sldId="302"/>
        </pc:sldMkLst>
        <pc:spChg chg="mod">
          <ac:chgData name="Thomas Stensitzki" userId="75cafe6b-2f2a-469b-85c4-eec3b9c972ba" providerId="ADAL" clId="{C148DAB4-983B-433E-B4CE-5BFA2739BE14}" dt="2022-03-03T14:43:33.995" v="381" actId="20577"/>
          <ac:spMkLst>
            <pc:docMk/>
            <pc:sldMk cId="925377618" sldId="302"/>
            <ac:spMk id="2" creationId="{ECC9ACB5-71F5-45C5-A2B9-2358FC4A8083}"/>
          </ac:spMkLst>
        </pc:spChg>
        <pc:spChg chg="del mod">
          <ac:chgData name="Thomas Stensitzki" userId="75cafe6b-2f2a-469b-85c4-eec3b9c972ba" providerId="ADAL" clId="{C148DAB4-983B-433E-B4CE-5BFA2739BE14}" dt="2022-03-03T14:44:41.083" v="383" actId="478"/>
          <ac:spMkLst>
            <pc:docMk/>
            <pc:sldMk cId="925377618" sldId="302"/>
            <ac:spMk id="3" creationId="{38DDA5AA-72AD-494B-ADE7-86C9DC458D15}"/>
          </ac:spMkLst>
        </pc:spChg>
        <pc:spChg chg="add del mod">
          <ac:chgData name="Thomas Stensitzki" userId="75cafe6b-2f2a-469b-85c4-eec3b9c972ba" providerId="ADAL" clId="{C148DAB4-983B-433E-B4CE-5BFA2739BE14}" dt="2022-03-03T14:44:45.676" v="384" actId="478"/>
          <ac:spMkLst>
            <pc:docMk/>
            <pc:sldMk cId="925377618" sldId="302"/>
            <ac:spMk id="6" creationId="{CE9C9224-67FD-4E7A-A003-3330FD843F31}"/>
          </ac:spMkLst>
        </pc:spChg>
        <pc:spChg chg="add mod">
          <ac:chgData name="Thomas Stensitzki" userId="75cafe6b-2f2a-469b-85c4-eec3b9c972ba" providerId="ADAL" clId="{C148DAB4-983B-433E-B4CE-5BFA2739BE14}" dt="2022-03-03T14:45:01.157" v="388" actId="207"/>
          <ac:spMkLst>
            <pc:docMk/>
            <pc:sldMk cId="925377618" sldId="302"/>
            <ac:spMk id="8" creationId="{6206FB5A-FE64-4B48-8433-41EE967AF978}"/>
          </ac:spMkLst>
        </pc:spChg>
        <pc:picChg chg="add mod">
          <ac:chgData name="Thomas Stensitzki" userId="75cafe6b-2f2a-469b-85c4-eec3b9c972ba" providerId="ADAL" clId="{C148DAB4-983B-433E-B4CE-5BFA2739BE14}" dt="2022-03-03T14:46:13.552" v="392" actId="1440"/>
          <ac:picMkLst>
            <pc:docMk/>
            <pc:sldMk cId="925377618" sldId="302"/>
            <ac:picMk id="10" creationId="{66D29072-5519-4F82-9C82-41D54F54516F}"/>
          </ac:picMkLst>
        </pc:picChg>
      </pc:sldChg>
      <pc:sldChg chg="del">
        <pc:chgData name="Thomas Stensitzki" userId="75cafe6b-2f2a-469b-85c4-eec3b9c972ba" providerId="ADAL" clId="{C148DAB4-983B-433E-B4CE-5BFA2739BE14}" dt="2022-03-02T17:08:29.161" v="27" actId="47"/>
        <pc:sldMkLst>
          <pc:docMk/>
          <pc:sldMk cId="2187120561" sldId="302"/>
        </pc:sldMkLst>
      </pc:sldChg>
      <pc:sldChg chg="del">
        <pc:chgData name="Thomas Stensitzki" userId="75cafe6b-2f2a-469b-85c4-eec3b9c972ba" providerId="ADAL" clId="{C148DAB4-983B-433E-B4CE-5BFA2739BE14}" dt="2022-03-02T17:08:24.421" v="25" actId="47"/>
        <pc:sldMkLst>
          <pc:docMk/>
          <pc:sldMk cId="1360740510" sldId="303"/>
        </pc:sldMkLst>
      </pc:sldChg>
      <pc:sldChg chg="del">
        <pc:chgData name="Thomas Stensitzki" userId="75cafe6b-2f2a-469b-85c4-eec3b9c972ba" providerId="ADAL" clId="{C148DAB4-983B-433E-B4CE-5BFA2739BE14}" dt="2022-03-02T17:08:26.057" v="26" actId="47"/>
        <pc:sldMkLst>
          <pc:docMk/>
          <pc:sldMk cId="1803008957" sldId="304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BA0481-4FA6-4961-BCB0-25EF86726492}" type="datetimeFigureOut">
              <a:rPr lang="de-DE" smtClean="0"/>
              <a:t>04.11.2022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4F3461-6973-4A70-B038-7E08B441689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56065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3BF356-DBFC-476B-AC58-6229004DAC1B}" type="datetimeFigureOut">
              <a:rPr lang="de-DE" smtClean="0"/>
              <a:t>04.11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DF68A7-DF42-4E0B-A2A7-C05F6B65347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83335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548341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3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19565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56370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96165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078813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85310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81231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5339173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5370903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3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05834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92534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520890"/>
            <a:ext cx="10515600" cy="4656073"/>
          </a:xfr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8378039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1846355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74812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455576"/>
            <a:ext cx="5181600" cy="4721387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455576"/>
            <a:ext cx="5181600" cy="4721387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8240772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84391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3210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030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313506" cy="613283"/>
          </a:xfrm>
          <a:prstGeom prst="rect">
            <a:avLst/>
          </a:prstGeom>
        </p:spPr>
        <p:txBody>
          <a:bodyPr vert="horz" wrap="none" lIns="91440" tIns="45720" rIns="91440" bIns="45720" rtlCol="0" anchor="t" anchorCtr="0">
            <a:normAutofit/>
          </a:bodyPr>
          <a:lstStyle/>
          <a:p>
            <a:r>
              <a:rPr lang="de-DE" dirty="0"/>
              <a:t>Titelmasterformat durch Klicken bearbeiten</a:t>
            </a:r>
            <a:br>
              <a:rPr lang="de-DE" dirty="0"/>
            </a:b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838200" y="6298164"/>
            <a:ext cx="3429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rgbClr val="37A5DD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xchange User Group | @exusg</a:t>
            </a:r>
            <a:endParaRPr lang="en-US" sz="1600" dirty="0">
              <a:solidFill>
                <a:srgbClr val="37A5DD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feld 9"/>
          <p:cNvSpPr txBox="1"/>
          <p:nvPr userDrawn="1"/>
        </p:nvSpPr>
        <p:spPr>
          <a:xfrm>
            <a:off x="9414587" y="6301271"/>
            <a:ext cx="19532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A82353EE-51AA-4714-8F87-33063FDE88AD}" type="slidenum">
              <a:rPr lang="de-DE" sz="1600" smtClean="0">
                <a:solidFill>
                  <a:srgbClr val="37A5DD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‹Nr.›</a:t>
            </a:fld>
            <a:endParaRPr lang="en-US" sz="1600" dirty="0">
              <a:solidFill>
                <a:srgbClr val="37A5DD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2490F61B-A0E7-49E1-AD2A-68B082E28AF9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151706" y="32038"/>
            <a:ext cx="1953201" cy="189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99405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703" r:id="rId3"/>
    <p:sldLayoutId id="2147483699" r:id="rId4"/>
    <p:sldLayoutId id="2147483700" r:id="rId5"/>
    <p:sldLayoutId id="2147483701" r:id="rId6"/>
    <p:sldLayoutId id="2147483702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0" baseline="0">
          <a:solidFill>
            <a:srgbClr val="37A5DD"/>
          </a:solidFill>
          <a:effectLst/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37A5DD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  <a:lvl2pPr marL="541338" indent="-271463" algn="l" defTabSz="914400" rtl="0" eaLnBrk="1" latinLnBrk="0" hangingPunct="1">
        <a:lnSpc>
          <a:spcPct val="90000"/>
        </a:lnSpc>
        <a:spcBef>
          <a:spcPts val="500"/>
        </a:spcBef>
        <a:buClr>
          <a:srgbClr val="37A5DD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2pPr>
      <a:lvl3pPr marL="801688" indent="-260350" algn="l" defTabSz="914400" rtl="0" eaLnBrk="1" latinLnBrk="0" hangingPunct="1">
        <a:lnSpc>
          <a:spcPct val="90000"/>
        </a:lnSpc>
        <a:spcBef>
          <a:spcPts val="500"/>
        </a:spcBef>
        <a:buClr>
          <a:srgbClr val="37A5DD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3pPr>
      <a:lvl4pPr marL="989013" indent="-187325" algn="l" defTabSz="914400" rtl="0" eaLnBrk="1" latinLnBrk="0" hangingPunct="1">
        <a:lnSpc>
          <a:spcPct val="90000"/>
        </a:lnSpc>
        <a:spcBef>
          <a:spcPts val="500"/>
        </a:spcBef>
        <a:buClr>
          <a:srgbClr val="37A5DD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4pPr>
      <a:lvl5pPr marL="1166813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37A5DD"/>
        </a:buClr>
        <a:buFont typeface="Wingdings" panose="05000000000000000000" pitchFamily="2" charset="2"/>
        <a:buChar char="§"/>
        <a:tabLst>
          <a:tab pos="1073150" algn="l"/>
        </a:tabLst>
        <a:defRPr sz="1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s://techcommunity.microsoft.com/t5/exchange-team-blog/how-to-work-with-inactive-mailboxes/ba-p/608881?WT.mc_id=M365-MVP-5003086" TargetMode="Externa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hyperlink" Target="https://support.microsoft.com/topic/-setting-up-messages-in-the-microsoft-365-admin-center-ac35d899-eac3-aa3c-7afe-32b675d94f7a?WT.mc_id=M365-MVP-500308" TargetMode="External"/><Relationship Id="rId3" Type="http://schemas.openxmlformats.org/officeDocument/2006/relationships/hyperlink" Target="https://docs.microsoft.com/powershell/module/exchange/disable-remotemailbox?view=exchange-ps&amp;WT.mc_id=M365-MVP-5003086" TargetMode="External"/><Relationship Id="rId7" Type="http://schemas.openxmlformats.org/officeDocument/2006/relationships/hyperlink" Target="https://techcommunity.microsoft.com/t5/exchange-team-blog/permanently-clear-previous-mailbox-info/ba-p/607619?WT.mc_id=M365-MVP-5003086" TargetMode="External"/><Relationship Id="rId2" Type="http://schemas.openxmlformats.org/officeDocument/2006/relationships/hyperlink" Target="https://docs.microsoft.com/powershell/module/exchange/disable-mailbox?view=exchange-ps&amp;WT.mc_id=M365-MVP-5003086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techcommunity.microsoft.com/t5/exchange-team-blog/how-to-work-with-inactive-mailboxes/ba-p/608881?WT.mc_id=M365-MVP-5003086" TargetMode="External"/><Relationship Id="rId5" Type="http://schemas.openxmlformats.org/officeDocument/2006/relationships/hyperlink" Target="https://docs.microsoft.com/microsoft-365/compliance/identify-a-hold-on-an-exchange-online-mailbox?view=o365-worldwide&amp;WT.mc_id=M365-MVP-5003086" TargetMode="External"/><Relationship Id="rId4" Type="http://schemas.openxmlformats.org/officeDocument/2006/relationships/hyperlink" Target="https://docs.microsoft.com/powershell/module/exchange/remove-mailbox?view=exchange-ps&amp;WT.mc_id=M365-MVP-5003086" TargetMode="Externa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mecairlift.event.microsoft.com/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ignite.microsoft.com/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hyperlink" Target="https://techcommunity.microsoft.com/t5/exchange-team-blog/released-august-2022-exchange-server-security-updates/ba-p/3593862?WT.mc_id=M365-MVP-5003086" TargetMode="Externa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microsoft.github.io/CSS-Exchange/Security/Extended-Protection/?WT.mc_id=M365-MVP-5003086" TargetMode="External"/><Relationship Id="rId2" Type="http://schemas.openxmlformats.org/officeDocument/2006/relationships/hyperlink" Target="https://docs.microsoft.com/iis/configuration/system.webserver/security/authentication/windowsauthentication/extendedprotection/?WT.mc_id=M365-MVP-5003086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docs.microsoft.com/exchange/exchange-tls-configuration?view=exchserver-2019&amp;WT.mc_id=M365-MVP-5003086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go.granikos.eu/EXUSG-Recs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g"/><Relationship Id="rId3" Type="http://schemas.openxmlformats.org/officeDocument/2006/relationships/hyperlink" Target="https://go.granikos.eu/EXUSG-Themen" TargetMode="External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hyperlink" Target="https://go.granikos.eu/EXUSGMug" TargetMode="External"/><Relationship Id="rId4" Type="http://schemas.openxmlformats.org/officeDocument/2006/relationships/hyperlink" Target="https://go.granikos.eu/CommunitySticker" TargetMode="Externa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s://exusg.de/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hyperlink" Target="https://go.granikos.eu/EXUSG-Recs" TargetMode="Externa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docs.microsoft.com/microsoft-365/compliance/identify-a-hold-on-an-exchange-online-mailbox?view=o365-worldwide&amp;WT.mc_id=M365-MVP-5003086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Exchange User Group</a:t>
            </a:r>
            <a:br>
              <a:rPr lang="de-DE" sz="3200" b="1" dirty="0"/>
            </a:br>
            <a:r>
              <a:rPr lang="de-DE" sz="3200" b="1" dirty="0"/>
              <a:t>Meetup Q3 2022</a:t>
            </a:r>
            <a:br>
              <a:rPr lang="de-DE" sz="3200" b="1" dirty="0"/>
            </a:br>
            <a:r>
              <a:rPr lang="de-DE" sz="3200" b="1" dirty="0"/>
              <a:t>{Hybrid Edition}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  <a:p>
            <a:r>
              <a:rPr lang="de-DE" dirty="0"/>
              <a:t>18. August 2022</a:t>
            </a:r>
            <a:br>
              <a:rPr lang="de-DE" dirty="0"/>
            </a:br>
            <a:endParaRPr lang="de-DE" dirty="0"/>
          </a:p>
        </p:txBody>
      </p:sp>
      <p:sp>
        <p:nvSpPr>
          <p:cNvPr id="4" name="Untertitel 2">
            <a:extLst>
              <a:ext uri="{FF2B5EF4-FFF2-40B4-BE49-F238E27FC236}">
                <a16:creationId xmlns:a16="http://schemas.microsoft.com/office/drawing/2014/main" id="{96C4C99C-DAD8-4CA7-9932-EEBDC4A8C97C}"/>
              </a:ext>
            </a:extLst>
          </p:cNvPr>
          <p:cNvSpPr txBox="1">
            <a:spLocks/>
          </p:cNvSpPr>
          <p:nvPr/>
        </p:nvSpPr>
        <p:spPr>
          <a:xfrm>
            <a:off x="1524000" y="4639655"/>
            <a:ext cx="9144000" cy="16557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7A5DD"/>
              </a:buClr>
              <a:buFont typeface="Wingdings" panose="05000000000000000000" pitchFamily="2" charset="2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7A5DD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7A5DD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7A5DD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7A5DD"/>
              </a:buClr>
              <a:buFont typeface="Wingdings" panose="05000000000000000000" pitchFamily="2" charset="2"/>
              <a:buNone/>
              <a:tabLst>
                <a:tab pos="1073150" algn="l"/>
              </a:tabLst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304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25032C9-DE06-DF3B-3E58-F7E279F1BD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ostfach-Deaktivier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F98DDA7-75B3-3FB8-684B-022375BDEE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>
                <a:sym typeface="Wingdings" panose="05000000000000000000" pitchFamily="2" charset="2"/>
              </a:rPr>
              <a:t>MSODS</a:t>
            </a:r>
          </a:p>
          <a:p>
            <a:pPr lvl="1"/>
            <a:r>
              <a:rPr lang="de-DE" dirty="0">
                <a:sym typeface="Wingdings" panose="05000000000000000000" pitchFamily="2" charset="2"/>
              </a:rPr>
              <a:t>Benutzerobjekt bleibt im Status </a:t>
            </a:r>
            <a:r>
              <a:rPr lang="de-DE" i="1" dirty="0">
                <a:sym typeface="Wingdings" panose="05000000000000000000" pitchFamily="2" charset="2"/>
              </a:rPr>
              <a:t>Active</a:t>
            </a:r>
            <a:r>
              <a:rPr lang="de-DE" dirty="0">
                <a:sym typeface="Wingdings" panose="05000000000000000000" pitchFamily="2" charset="2"/>
              </a:rPr>
              <a:t>, ohne EXO-Lizenz</a:t>
            </a:r>
          </a:p>
          <a:p>
            <a:pPr lvl="1"/>
            <a:r>
              <a:rPr lang="de-DE" dirty="0">
                <a:sym typeface="Wingdings" panose="05000000000000000000" pitchFamily="2" charset="2"/>
              </a:rPr>
              <a:t>Validation Error</a:t>
            </a:r>
            <a:br>
              <a:rPr lang="de-DE" dirty="0">
                <a:sym typeface="Wingdings" panose="05000000000000000000" pitchFamily="2" charset="2"/>
              </a:rPr>
            </a:br>
            <a:r>
              <a:rPr lang="en-US" sz="1800" i="1" dirty="0">
                <a:solidFill>
                  <a:srgbClr val="FF0000"/>
                </a:solidFill>
                <a:latin typeface="Calibri" panose="020F0502020204030204" pitchFamily="34" charset="0"/>
              </a:rPr>
              <a:t>“</a:t>
            </a:r>
            <a:r>
              <a:rPr lang="en-US" sz="1800" b="1" i="1" dirty="0">
                <a:solidFill>
                  <a:srgbClr val="FF0000"/>
                </a:solidFill>
                <a:latin typeface="Calibri" panose="020F0502020204030204" pitchFamily="34" charset="0"/>
              </a:rPr>
              <a:t>Exchange can't disable</a:t>
            </a:r>
            <a:r>
              <a:rPr lang="en-US" sz="1800" i="1" dirty="0">
                <a:solidFill>
                  <a:srgbClr val="FF0000"/>
                </a:solidFill>
                <a:latin typeface="Calibri" panose="020F0502020204030204" pitchFamily="34" charset="0"/>
              </a:rPr>
              <a:t> the mailbox "EURPR01A007.PROD.OUTLOOK.COM/Microsoft Exchange Hosted Organizations/contoso.onmicrosoft.com/</a:t>
            </a:r>
            <a:r>
              <a:rPr lang="en-US" sz="1800" b="1" i="1" dirty="0" err="1">
                <a:solidFill>
                  <a:srgbClr val="FF0000"/>
                </a:solidFill>
                <a:latin typeface="Calibri" panose="020F0502020204030204" pitchFamily="34" charset="0"/>
              </a:rPr>
              <a:t>UserWithHold</a:t>
            </a:r>
            <a:r>
              <a:rPr lang="en-US" sz="1800" i="1" dirty="0">
                <a:solidFill>
                  <a:srgbClr val="FF0000"/>
                </a:solidFill>
                <a:latin typeface="Calibri" panose="020F0502020204030204" pitchFamily="34" charset="0"/>
              </a:rPr>
              <a:t>" because </a:t>
            </a:r>
            <a:r>
              <a:rPr lang="en-US" sz="1800" b="1" i="1" dirty="0">
                <a:solidFill>
                  <a:srgbClr val="FF0000"/>
                </a:solidFill>
                <a:latin typeface="Calibri" panose="020F0502020204030204" pitchFamily="34" charset="0"/>
              </a:rPr>
              <a:t>it is on litigation hold</a:t>
            </a:r>
            <a:r>
              <a:rPr lang="en-US" sz="1800" i="1" dirty="0">
                <a:solidFill>
                  <a:srgbClr val="FF0000"/>
                </a:solidFill>
                <a:latin typeface="Calibri" panose="020F0502020204030204" pitchFamily="34" charset="0"/>
              </a:rPr>
              <a:t>.”</a:t>
            </a:r>
          </a:p>
          <a:p>
            <a:r>
              <a:rPr lang="de-DE" dirty="0">
                <a:sym typeface="Wingdings" panose="05000000000000000000" pitchFamily="2" charset="2"/>
              </a:rPr>
              <a:t>EXO</a:t>
            </a:r>
          </a:p>
          <a:p>
            <a:pPr lvl="1"/>
            <a:r>
              <a:rPr lang="de-DE" dirty="0">
                <a:sym typeface="Wingdings" panose="05000000000000000000" pitchFamily="2" charset="2"/>
              </a:rPr>
              <a:t>Benutzerobjekt bleibt bis zur Behebung des Fehlers ein </a:t>
            </a:r>
            <a:r>
              <a:rPr lang="de-DE" i="1" dirty="0" err="1">
                <a:sym typeface="Wingdings" panose="05000000000000000000" pitchFamily="2" charset="2"/>
              </a:rPr>
              <a:t>UserMailbox</a:t>
            </a:r>
            <a:r>
              <a:rPr lang="de-DE" dirty="0">
                <a:sym typeface="Wingdings" panose="05000000000000000000" pitchFamily="2" charset="2"/>
              </a:rPr>
              <a:t> Objekt</a:t>
            </a:r>
          </a:p>
          <a:p>
            <a:pPr marL="0" indent="0">
              <a:buNone/>
            </a:pPr>
            <a:br>
              <a:rPr lang="en-US">
                <a:sym typeface="Wingdings" panose="05000000000000000000" pitchFamily="2" charset="2"/>
              </a:rPr>
            </a:br>
            <a:r>
              <a:rPr lang="en-US" sz="1400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(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Get-MSOLUser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 -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UserPrincipalName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 User1@contoso.com).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Errors.ErrorDetail.ObjectErrors.ErrorRecord</a:t>
            </a: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  <a:sym typeface="Wingdings" panose="05000000000000000000" pitchFamily="2" charset="2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C259EB8-2A34-CE5F-72C3-3B0298E90F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Postfächer mit Beweissicherungsverfahren (Hold)</a:t>
            </a:r>
          </a:p>
        </p:txBody>
      </p:sp>
    </p:spTree>
    <p:extLst>
      <p:ext uri="{BB962C8B-B14F-4D97-AF65-F5344CB8AC3E}">
        <p14:creationId xmlns:p14="http://schemas.microsoft.com/office/powerpoint/2010/main" val="8973761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25032C9-DE06-DF3B-3E58-F7E279F1BD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ostfach-Deaktivier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F98DDA7-75B3-3FB8-684B-022375BDEE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>
                <a:sym typeface="Wingdings" panose="05000000000000000000" pitchFamily="2" charset="2"/>
              </a:rPr>
              <a:t>MSOLUser</a:t>
            </a:r>
            <a:r>
              <a:rPr lang="de-DE" dirty="0">
                <a:sym typeface="Wingdings" panose="05000000000000000000" pitchFamily="2" charset="2"/>
              </a:rPr>
              <a:t> Objekt mit Fehler wird nicht mehr mit EXODS synchronisiert</a:t>
            </a:r>
          </a:p>
          <a:p>
            <a:pPr lvl="1"/>
            <a:r>
              <a:rPr lang="de-DE" dirty="0">
                <a:sym typeface="Wingdings" panose="05000000000000000000" pitchFamily="2" charset="2"/>
              </a:rPr>
              <a:t>Änderungen in MSODS sind nicht in </a:t>
            </a:r>
            <a:r>
              <a:rPr lang="de-DE">
                <a:sym typeface="Wingdings" panose="05000000000000000000" pitchFamily="2" charset="2"/>
              </a:rPr>
              <a:t>Exchange Online </a:t>
            </a:r>
            <a:r>
              <a:rPr lang="de-DE" dirty="0">
                <a:sym typeface="Wingdings" panose="05000000000000000000" pitchFamily="2" charset="2"/>
              </a:rPr>
              <a:t>sichtbar</a:t>
            </a:r>
          </a:p>
          <a:p>
            <a:pPr lvl="1"/>
            <a:r>
              <a:rPr lang="de-DE" dirty="0">
                <a:sym typeface="Wingdings" panose="05000000000000000000" pitchFamily="2" charset="2"/>
              </a:rPr>
              <a:t>Änderungen in Exchange Online sind nicht in MSODS sichtbar</a:t>
            </a:r>
          </a:p>
          <a:p>
            <a:r>
              <a:rPr lang="de-DE" dirty="0">
                <a:sym typeface="Wingdings" panose="05000000000000000000" pitchFamily="2" charset="2"/>
              </a:rPr>
              <a:t>Nach Behebung des Fehlers wird normal synchronisiert</a:t>
            </a:r>
          </a:p>
          <a:p>
            <a:endParaRPr lang="de-DE" dirty="0">
              <a:sym typeface="Wingdings" panose="05000000000000000000" pitchFamily="2" charset="2"/>
            </a:endParaRPr>
          </a:p>
          <a:p>
            <a:r>
              <a:rPr lang="de-DE" dirty="0">
                <a:sym typeface="Wingdings" panose="05000000000000000000" pitchFamily="2" charset="2"/>
              </a:rPr>
              <a:t>Behebung des Validierungsfehlers</a:t>
            </a:r>
          </a:p>
          <a:p>
            <a:pPr lvl="1"/>
            <a:r>
              <a:rPr lang="de-DE" dirty="0">
                <a:sym typeface="Wingdings" panose="05000000000000000000" pitchFamily="2" charset="2"/>
              </a:rPr>
              <a:t>Zuweisung einer Exchange Online Lizenz</a:t>
            </a:r>
          </a:p>
          <a:p>
            <a:pPr lvl="1"/>
            <a:r>
              <a:rPr lang="de-DE" dirty="0">
                <a:sym typeface="Wingdings" panose="05000000000000000000" pitchFamily="2" charset="2"/>
              </a:rPr>
              <a:t>Entfernung der aktiven Hold-Konfiguratio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C259EB8-2A34-CE5F-72C3-3B0298E90F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Postfächer mit Beweissicherungsverfahren (Hold)</a:t>
            </a:r>
          </a:p>
        </p:txBody>
      </p:sp>
    </p:spTree>
    <p:extLst>
      <p:ext uri="{BB962C8B-B14F-4D97-AF65-F5344CB8AC3E}">
        <p14:creationId xmlns:p14="http://schemas.microsoft.com/office/powerpoint/2010/main" val="28579840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25032C9-DE06-DF3B-3E58-F7E279F1BD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ostfach-Lösch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F98DDA7-75B3-3FB8-684B-022375BDEE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>
                <a:sym typeface="Wingdings" panose="05000000000000000000" pitchFamily="2" charset="2"/>
              </a:rPr>
              <a:t>MSODS</a:t>
            </a:r>
          </a:p>
          <a:p>
            <a:pPr lvl="1"/>
            <a:r>
              <a:rPr lang="de-DE" dirty="0">
                <a:sym typeface="Wingdings" panose="05000000000000000000" pitchFamily="2" charset="2"/>
              </a:rPr>
              <a:t>Objekt ist für </a:t>
            </a:r>
            <a:r>
              <a:rPr lang="de-DE" b="1" dirty="0">
                <a:sym typeface="Wingdings" panose="05000000000000000000" pitchFamily="2" charset="2"/>
              </a:rPr>
              <a:t>30 Tage soft-</a:t>
            </a:r>
            <a:r>
              <a:rPr lang="de-DE" b="1" dirty="0" err="1">
                <a:sym typeface="Wingdings" panose="05000000000000000000" pitchFamily="2" charset="2"/>
              </a:rPr>
              <a:t>deleted</a:t>
            </a:r>
            <a:r>
              <a:rPr lang="de-DE" dirty="0">
                <a:sym typeface="Wingdings" panose="05000000000000000000" pitchFamily="2" charset="2"/>
              </a:rPr>
              <a:t> in der Übersicht der gelöschten Benutzer</a:t>
            </a:r>
          </a:p>
          <a:p>
            <a:r>
              <a:rPr lang="de-DE" dirty="0">
                <a:sym typeface="Wingdings" panose="05000000000000000000" pitchFamily="2" charset="2"/>
              </a:rPr>
              <a:t>EXO</a:t>
            </a:r>
          </a:p>
          <a:p>
            <a:pPr lvl="1"/>
            <a:r>
              <a:rPr lang="de-DE" dirty="0">
                <a:sym typeface="Wingdings" panose="05000000000000000000" pitchFamily="2" charset="2"/>
              </a:rPr>
              <a:t>Postfach wird für die </a:t>
            </a:r>
            <a:r>
              <a:rPr lang="de-DE" b="1" dirty="0">
                <a:sym typeface="Wingdings" panose="05000000000000000000" pitchFamily="2" charset="2"/>
              </a:rPr>
              <a:t>Dauer der längsten Hold-Konfiguration </a:t>
            </a:r>
            <a:r>
              <a:rPr lang="de-DE" dirty="0">
                <a:sym typeface="Wingdings" panose="05000000000000000000" pitchFamily="2" charset="2"/>
              </a:rPr>
              <a:t>auf </a:t>
            </a:r>
            <a:r>
              <a:rPr lang="de-DE" b="1" dirty="0" err="1">
                <a:sym typeface="Wingdings" panose="05000000000000000000" pitchFamily="2" charset="2"/>
              </a:rPr>
              <a:t>Inactive</a:t>
            </a:r>
            <a:r>
              <a:rPr lang="de-DE" dirty="0">
                <a:sym typeface="Wingdings" panose="05000000000000000000" pitchFamily="2" charset="2"/>
              </a:rPr>
              <a:t> gesetzt</a:t>
            </a:r>
            <a:br>
              <a:rPr lang="de-DE" dirty="0">
                <a:sym typeface="Wingdings" panose="05000000000000000000" pitchFamily="2" charset="2"/>
              </a:rPr>
            </a:br>
            <a:endParaRPr lang="de-DE" dirty="0">
              <a:sym typeface="Wingdings" panose="05000000000000000000" pitchFamily="2" charset="2"/>
            </a:endParaRPr>
          </a:p>
          <a:p>
            <a:pPr marL="0" indent="0">
              <a:buNone/>
            </a:pP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Get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-Mailbox -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InactiveMailboxOnly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 User1 |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ft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 -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AutoSize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 Name,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IsInactiveMailbox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, 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IsSoftDeletedByRemove</a:t>
            </a: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  <a:sym typeface="Wingdings" panose="05000000000000000000" pitchFamily="2" charset="2"/>
            </a:endParaRPr>
          </a:p>
          <a:p>
            <a:pPr marL="0" indent="0">
              <a:buNone/>
            </a:pP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Name    	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IsInactiveMailbox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	 	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IsSoftDeletedByRemove</a:t>
            </a: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  <a:sym typeface="Wingdings" panose="05000000000000000000" pitchFamily="2" charset="2"/>
            </a:endParaRPr>
          </a:p>
          <a:p>
            <a:pPr marL="0" indent="0">
              <a:buNone/>
            </a:pP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---- 	-----------------	 	---------------------</a:t>
            </a:r>
          </a:p>
          <a:p>
            <a:pPr marL="0" indent="0">
              <a:buNone/>
            </a:pP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User1    True                  	True</a:t>
            </a:r>
          </a:p>
          <a:p>
            <a:pPr marL="0" indent="0">
              <a:buNone/>
            </a:pP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Wingdings" panose="05000000000000000000" pitchFamily="2" charset="2"/>
                <a:hlinkClick r:id="rId2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Wingdings" panose="05000000000000000000" pitchFamily="2" charset="2"/>
                <a:hlinkClick r:id="rId2"/>
              </a:rPr>
              <a:t>Weitere Informationen</a:t>
            </a:r>
            <a:endParaRPr lang="de-DE" dirty="0">
              <a:sym typeface="Wingdings" panose="05000000000000000000" pitchFamily="2" charset="2"/>
            </a:endParaRPr>
          </a:p>
          <a:p>
            <a:endParaRPr lang="de-DE" dirty="0">
              <a:sym typeface="Wingdings" panose="05000000000000000000" pitchFamily="2" charset="2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C259EB8-2A34-CE5F-72C3-3B0298E90F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Postfächer mit Beweissicherungsverfahren (Hold)</a:t>
            </a:r>
          </a:p>
        </p:txBody>
      </p:sp>
    </p:spTree>
    <p:extLst>
      <p:ext uri="{BB962C8B-B14F-4D97-AF65-F5344CB8AC3E}">
        <p14:creationId xmlns:p14="http://schemas.microsoft.com/office/powerpoint/2010/main" val="32373855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25032C9-DE06-DF3B-3E58-F7E279F1BD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ostfach-Deaktivier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F98DDA7-75B3-3FB8-684B-022375BDEE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>
                <a:sym typeface="Wingdings" panose="05000000000000000000" pitchFamily="2" charset="2"/>
              </a:rPr>
              <a:t>MSODS</a:t>
            </a:r>
          </a:p>
          <a:p>
            <a:pPr lvl="1"/>
            <a:r>
              <a:rPr lang="de-DE" dirty="0">
                <a:sym typeface="Wingdings" panose="05000000000000000000" pitchFamily="2" charset="2"/>
              </a:rPr>
              <a:t>Benutzerobjekt bleibt im Status </a:t>
            </a:r>
            <a:r>
              <a:rPr lang="de-DE" i="1" dirty="0">
                <a:sym typeface="Wingdings" panose="05000000000000000000" pitchFamily="2" charset="2"/>
              </a:rPr>
              <a:t>Active</a:t>
            </a:r>
            <a:r>
              <a:rPr lang="de-DE" dirty="0">
                <a:sym typeface="Wingdings" panose="05000000000000000000" pitchFamily="2" charset="2"/>
              </a:rPr>
              <a:t> und ist weiter sichtbar</a:t>
            </a:r>
          </a:p>
          <a:p>
            <a:r>
              <a:rPr lang="de-DE" dirty="0">
                <a:sym typeface="Wingdings" panose="05000000000000000000" pitchFamily="2" charset="2"/>
              </a:rPr>
              <a:t>EXO</a:t>
            </a:r>
          </a:p>
          <a:p>
            <a:pPr lvl="1"/>
            <a:r>
              <a:rPr lang="de-DE" dirty="0">
                <a:sym typeface="Wingdings" panose="05000000000000000000" pitchFamily="2" charset="2"/>
              </a:rPr>
              <a:t>Postfach wechselt für 30-Tage in </a:t>
            </a:r>
            <a:r>
              <a:rPr lang="de-DE" dirty="0" err="1">
                <a:sym typeface="Wingdings" panose="05000000000000000000" pitchFamily="2" charset="2"/>
              </a:rPr>
              <a:t>Disconnected</a:t>
            </a:r>
            <a:r>
              <a:rPr lang="de-DE" dirty="0">
                <a:sym typeface="Wingdings" panose="05000000000000000000" pitchFamily="2" charset="2"/>
              </a:rPr>
              <a:t>-Status mit anschließender Löschung</a:t>
            </a:r>
          </a:p>
          <a:p>
            <a:pPr lvl="1"/>
            <a:r>
              <a:rPr lang="de-DE" dirty="0">
                <a:sym typeface="Wingdings" panose="05000000000000000000" pitchFamily="2" charset="2"/>
              </a:rPr>
              <a:t>Statuswechsel setzt </a:t>
            </a:r>
          </a:p>
          <a:p>
            <a:pPr lvl="2"/>
            <a:r>
              <a:rPr lang="de-DE" b="1" i="1" dirty="0" err="1">
                <a:sym typeface="Wingdings" panose="05000000000000000000" pitchFamily="2" charset="2"/>
              </a:rPr>
              <a:t>msExchPreviousRecipientTypeDetails</a:t>
            </a:r>
            <a:r>
              <a:rPr lang="de-DE" dirty="0">
                <a:sym typeface="Wingdings" panose="05000000000000000000" pitchFamily="2" charset="2"/>
              </a:rPr>
              <a:t>, </a:t>
            </a:r>
            <a:r>
              <a:rPr lang="de-DE" i="1" dirty="0" err="1">
                <a:sym typeface="Wingdings" panose="05000000000000000000" pitchFamily="2" charset="2"/>
              </a:rPr>
              <a:t>msExchPreviousMailboxGuid</a:t>
            </a:r>
            <a:r>
              <a:rPr lang="de-DE" dirty="0">
                <a:sym typeface="Wingdings" panose="05000000000000000000" pitchFamily="2" charset="2"/>
              </a:rPr>
              <a:t> und </a:t>
            </a:r>
            <a:r>
              <a:rPr lang="de-DE" i="1" dirty="0" err="1">
                <a:sym typeface="Wingdings" panose="05000000000000000000" pitchFamily="2" charset="2"/>
              </a:rPr>
              <a:t>msExchPreviousHomeMDBSL</a:t>
            </a:r>
            <a:endParaRPr lang="de-DE" i="1" dirty="0">
              <a:sym typeface="Wingdings" panose="05000000000000000000" pitchFamily="2" charset="2"/>
            </a:endParaRPr>
          </a:p>
          <a:p>
            <a:pPr lvl="1"/>
            <a:r>
              <a:rPr lang="de-DE" dirty="0">
                <a:sym typeface="Wingdings" panose="05000000000000000000" pitchFamily="2" charset="2"/>
              </a:rPr>
              <a:t>Bereinigung der Parameter </a:t>
            </a:r>
          </a:p>
          <a:p>
            <a:pPr lvl="2"/>
            <a:r>
              <a:rPr lang="de-DE" dirty="0">
                <a:sym typeface="Wingdings" panose="05000000000000000000" pitchFamily="2" charset="2"/>
              </a:rPr>
              <a:t>Nach der Löschung des Postfaches nach 30 Tagen (funktioniert nicht immer)</a:t>
            </a:r>
          </a:p>
          <a:p>
            <a:pPr lvl="2"/>
            <a:r>
              <a:rPr lang="de-DE" dirty="0">
                <a:sym typeface="Wingdings" panose="05000000000000000000" pitchFamily="2" charset="2"/>
              </a:rPr>
              <a:t>Manuell per PowerShell </a:t>
            </a:r>
          </a:p>
          <a:p>
            <a:pPr marL="0" indent="0">
              <a:buNone/>
            </a:pPr>
            <a:r>
              <a:rPr lang="en-US" sz="1400" b="1" dirty="0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Set-User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 User1@contoso.com </a:t>
            </a:r>
            <a:r>
              <a:rPr lang="en-US" sz="1400" b="1" dirty="0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-</a:t>
            </a:r>
            <a:r>
              <a:rPr lang="en-US" sz="1400" b="1" dirty="0" err="1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PermanentlyClearPreviousMailboxInfo</a:t>
            </a:r>
            <a:endParaRPr lang="en-US" sz="1400" b="1" dirty="0">
              <a:latin typeface="Courier New" panose="02070309020205020404" pitchFamily="49" charset="0"/>
              <a:cs typeface="Courier New" panose="02070309020205020404" pitchFamily="49" charset="0"/>
              <a:sym typeface="Wingdings" panose="05000000000000000000" pitchFamily="2" charset="2"/>
            </a:endParaRPr>
          </a:p>
          <a:p>
            <a:pPr marL="0" indent="0">
              <a:buNone/>
            </a:pPr>
            <a:endParaRPr lang="de-DE" dirty="0">
              <a:sym typeface="Wingdings" panose="05000000000000000000" pitchFamily="2" charset="2"/>
            </a:endParaRPr>
          </a:p>
          <a:p>
            <a:endParaRPr lang="de-DE" dirty="0">
              <a:sym typeface="Wingdings" panose="05000000000000000000" pitchFamily="2" charset="2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C259EB8-2A34-CE5F-72C3-3B0298E90F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Postfächer ohne Beweissicherungsverfahren (Hold)</a:t>
            </a:r>
          </a:p>
        </p:txBody>
      </p:sp>
    </p:spTree>
    <p:extLst>
      <p:ext uri="{BB962C8B-B14F-4D97-AF65-F5344CB8AC3E}">
        <p14:creationId xmlns:p14="http://schemas.microsoft.com/office/powerpoint/2010/main" val="34866450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25032C9-DE06-DF3B-3E58-F7E279F1BD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ostfach-Lösch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F98DDA7-75B3-3FB8-684B-022375BDEE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>
                <a:sym typeface="Wingdings" panose="05000000000000000000" pitchFamily="2" charset="2"/>
              </a:rPr>
              <a:t>MSODS</a:t>
            </a:r>
          </a:p>
          <a:p>
            <a:pPr lvl="1"/>
            <a:r>
              <a:rPr lang="de-DE" dirty="0">
                <a:sym typeface="Wingdings" panose="05000000000000000000" pitchFamily="2" charset="2"/>
              </a:rPr>
              <a:t>Benutzerobjekt bleibt im Status </a:t>
            </a:r>
            <a:r>
              <a:rPr lang="de-DE" i="1" dirty="0">
                <a:sym typeface="Wingdings" panose="05000000000000000000" pitchFamily="2" charset="2"/>
              </a:rPr>
              <a:t>Active</a:t>
            </a:r>
            <a:r>
              <a:rPr lang="de-DE" dirty="0">
                <a:sym typeface="Wingdings" panose="05000000000000000000" pitchFamily="2" charset="2"/>
              </a:rPr>
              <a:t> und ist für 30 Tage weiter sichtbar</a:t>
            </a:r>
          </a:p>
          <a:p>
            <a:r>
              <a:rPr lang="de-DE" dirty="0">
                <a:sym typeface="Wingdings" panose="05000000000000000000" pitchFamily="2" charset="2"/>
              </a:rPr>
              <a:t>EXO</a:t>
            </a:r>
          </a:p>
          <a:p>
            <a:pPr lvl="1"/>
            <a:r>
              <a:rPr lang="de-DE" dirty="0">
                <a:sym typeface="Wingdings" panose="05000000000000000000" pitchFamily="2" charset="2"/>
              </a:rPr>
              <a:t>Postfach wechselt für 30-Tage in </a:t>
            </a:r>
            <a:r>
              <a:rPr lang="de-DE" dirty="0" err="1">
                <a:sym typeface="Wingdings" panose="05000000000000000000" pitchFamily="2" charset="2"/>
              </a:rPr>
              <a:t>Disconnected</a:t>
            </a:r>
            <a:r>
              <a:rPr lang="de-DE" dirty="0">
                <a:sym typeface="Wingdings" panose="05000000000000000000" pitchFamily="2" charset="2"/>
              </a:rPr>
              <a:t>-Status mit anschließender Löschung</a:t>
            </a:r>
          </a:p>
          <a:p>
            <a:pPr lvl="1"/>
            <a:r>
              <a:rPr lang="de-DE" dirty="0">
                <a:sym typeface="Wingdings" panose="05000000000000000000" pitchFamily="2" charset="2"/>
              </a:rPr>
              <a:t>Statuswechsel setzt </a:t>
            </a:r>
          </a:p>
          <a:p>
            <a:pPr lvl="2"/>
            <a:r>
              <a:rPr lang="de-DE" b="1" i="1" dirty="0" err="1">
                <a:sym typeface="Wingdings" panose="05000000000000000000" pitchFamily="2" charset="2"/>
              </a:rPr>
              <a:t>msExchPreviousRecipientTypeDetails</a:t>
            </a:r>
            <a:r>
              <a:rPr lang="de-DE" dirty="0">
                <a:sym typeface="Wingdings" panose="05000000000000000000" pitchFamily="2" charset="2"/>
              </a:rPr>
              <a:t>, </a:t>
            </a:r>
            <a:r>
              <a:rPr lang="de-DE" i="1" dirty="0" err="1">
                <a:sym typeface="Wingdings" panose="05000000000000000000" pitchFamily="2" charset="2"/>
              </a:rPr>
              <a:t>msExchPreviousMailboxGuid</a:t>
            </a:r>
            <a:r>
              <a:rPr lang="de-DE" dirty="0">
                <a:sym typeface="Wingdings" panose="05000000000000000000" pitchFamily="2" charset="2"/>
              </a:rPr>
              <a:t> und </a:t>
            </a:r>
            <a:r>
              <a:rPr lang="de-DE" i="1" dirty="0" err="1">
                <a:sym typeface="Wingdings" panose="05000000000000000000" pitchFamily="2" charset="2"/>
              </a:rPr>
              <a:t>msExchPreviousHomeMDBSL</a:t>
            </a:r>
            <a:endParaRPr lang="de-DE" i="1" dirty="0">
              <a:sym typeface="Wingdings" panose="05000000000000000000" pitchFamily="2" charset="2"/>
            </a:endParaRPr>
          </a:p>
          <a:p>
            <a:pPr lvl="1"/>
            <a:r>
              <a:rPr lang="de-DE" dirty="0">
                <a:sym typeface="Wingdings" panose="05000000000000000000" pitchFamily="2" charset="2"/>
              </a:rPr>
              <a:t>Bereinigung der Parameter </a:t>
            </a:r>
          </a:p>
          <a:p>
            <a:pPr lvl="2"/>
            <a:r>
              <a:rPr lang="de-DE" dirty="0">
                <a:sym typeface="Wingdings" panose="05000000000000000000" pitchFamily="2" charset="2"/>
              </a:rPr>
              <a:t>Nach der Löschung des Postfaches nach 30 Tagen (funktioniert nicht immer)</a:t>
            </a:r>
          </a:p>
          <a:p>
            <a:pPr lvl="2"/>
            <a:r>
              <a:rPr lang="de-DE" dirty="0">
                <a:sym typeface="Wingdings" panose="05000000000000000000" pitchFamily="2" charset="2"/>
              </a:rPr>
              <a:t>Manuell per PowerShell </a:t>
            </a:r>
          </a:p>
          <a:p>
            <a:pPr marL="0" indent="0">
              <a:buNone/>
            </a:pPr>
            <a:r>
              <a:rPr lang="en-US" sz="1400" b="1" dirty="0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Get-Mailbox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 User1@contoso.com </a:t>
            </a:r>
            <a:r>
              <a:rPr lang="en-US" sz="1400" b="1" dirty="0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-</a:t>
            </a:r>
            <a:r>
              <a:rPr lang="en-US" sz="1400" b="1" dirty="0" err="1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SoftDeletedMailbox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 | </a:t>
            </a:r>
            <a:r>
              <a:rPr lang="en-US" sz="1400" b="1" dirty="0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Remove-Mailbox - </a:t>
            </a:r>
            <a:r>
              <a:rPr lang="en-US" sz="1400" b="1" dirty="0" err="1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PermanentlyDelete</a:t>
            </a:r>
            <a:r>
              <a:rPr lang="en-US" sz="1400" b="1" dirty="0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 -Force</a:t>
            </a:r>
          </a:p>
          <a:p>
            <a:pPr marL="0" indent="0">
              <a:buNone/>
            </a:pPr>
            <a:r>
              <a:rPr lang="en-US" sz="1400" b="1" dirty="0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Set-User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 User1@contoso.com </a:t>
            </a:r>
            <a:r>
              <a:rPr lang="en-US" sz="1400" b="1" dirty="0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-</a:t>
            </a:r>
            <a:r>
              <a:rPr lang="en-US" sz="1400" b="1" dirty="0" err="1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PermanentlyClearPreviousMailboxInfo</a:t>
            </a:r>
            <a:endParaRPr lang="en-US" sz="1400" b="1" dirty="0">
              <a:latin typeface="Courier New" panose="02070309020205020404" pitchFamily="49" charset="0"/>
              <a:cs typeface="Courier New" panose="02070309020205020404" pitchFamily="49" charset="0"/>
              <a:sym typeface="Wingdings" panose="05000000000000000000" pitchFamily="2" charset="2"/>
            </a:endParaRPr>
          </a:p>
          <a:p>
            <a:pPr marL="0" indent="0">
              <a:buNone/>
            </a:pPr>
            <a:endParaRPr lang="de-DE" dirty="0">
              <a:sym typeface="Wingdings" panose="05000000000000000000" pitchFamily="2" charset="2"/>
            </a:endParaRPr>
          </a:p>
          <a:p>
            <a:endParaRPr lang="de-DE" dirty="0">
              <a:sym typeface="Wingdings" panose="05000000000000000000" pitchFamily="2" charset="2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C259EB8-2A34-CE5F-72C3-3B0298E90F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Postfächer ohne Beweissicherungsverfahren (Hold)</a:t>
            </a:r>
          </a:p>
        </p:txBody>
      </p:sp>
    </p:spTree>
    <p:extLst>
      <p:ext uri="{BB962C8B-B14F-4D97-AF65-F5344CB8AC3E}">
        <p14:creationId xmlns:p14="http://schemas.microsoft.com/office/powerpoint/2010/main" val="41422841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8B2298A-E31A-0392-955D-AE1EE91B28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ostfach Verbind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9E3BE99-6E10-2A5A-CC20-F9A73F5D359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Nicht lizenzpflichtige Postfächer können per </a:t>
            </a:r>
            <a:r>
              <a:rPr lang="de-DE" dirty="0" err="1"/>
              <a:t>Enable</a:t>
            </a:r>
            <a:r>
              <a:rPr lang="de-DE" dirty="0"/>
              <a:t>-Mailbox verbunden werden</a:t>
            </a:r>
          </a:p>
          <a:p>
            <a:pPr lvl="1"/>
            <a:r>
              <a:rPr lang="de-DE" dirty="0" err="1"/>
              <a:t>SharedMailbox</a:t>
            </a:r>
            <a:endParaRPr lang="de-DE" dirty="0"/>
          </a:p>
          <a:p>
            <a:pPr lvl="1"/>
            <a:r>
              <a:rPr lang="de-DE" dirty="0" err="1"/>
              <a:t>RoomMailbox</a:t>
            </a:r>
            <a:endParaRPr lang="de-DE" dirty="0"/>
          </a:p>
          <a:p>
            <a:pPr lvl="1"/>
            <a:r>
              <a:rPr lang="de-DE" dirty="0" err="1"/>
              <a:t>EquipmentMailbox</a:t>
            </a:r>
            <a:endParaRPr lang="de-DE" dirty="0"/>
          </a:p>
          <a:p>
            <a:r>
              <a:rPr lang="de-DE" dirty="0"/>
              <a:t>Postfachgröße muss kleiner 50 GB sein</a:t>
            </a:r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  <a:p>
            <a:pPr lvl="1"/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2785C45-0302-6BE1-7468-86FA5C6E3D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Nicht lizenzpflichtige Postfächer</a:t>
            </a:r>
          </a:p>
        </p:txBody>
      </p:sp>
    </p:spTree>
    <p:extLst>
      <p:ext uri="{BB962C8B-B14F-4D97-AF65-F5344CB8AC3E}">
        <p14:creationId xmlns:p14="http://schemas.microsoft.com/office/powerpoint/2010/main" val="12042336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8B2298A-E31A-0392-955D-AE1EE91B28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ostfach Verbind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9E3BE99-6E10-2A5A-CC20-F9A73F5D359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Zuweisung einer EXO-Lizenz triggert die automatische Verbindung eines Postfaches im Status </a:t>
            </a:r>
            <a:r>
              <a:rPr lang="de-DE" b="1" dirty="0"/>
              <a:t>soft-</a:t>
            </a:r>
            <a:r>
              <a:rPr lang="de-DE" b="1" dirty="0" err="1"/>
              <a:t>deleted</a:t>
            </a:r>
            <a:endParaRPr lang="de-DE" b="1" dirty="0"/>
          </a:p>
          <a:p>
            <a:endParaRPr lang="de-DE" b="1" dirty="0"/>
          </a:p>
          <a:p>
            <a:r>
              <a:rPr lang="de-DE" dirty="0"/>
              <a:t>1. Prüfung in EXODS</a:t>
            </a:r>
          </a:p>
          <a:p>
            <a:pPr lvl="1"/>
            <a:r>
              <a:rPr lang="de-DE" dirty="0" err="1"/>
              <a:t>msExchPreviousRecipientTypeDetails</a:t>
            </a:r>
            <a:r>
              <a:rPr lang="de-DE" dirty="0"/>
              <a:t> = </a:t>
            </a:r>
            <a:r>
              <a:rPr lang="de-DE" dirty="0" err="1"/>
              <a:t>UserMailbox</a:t>
            </a:r>
            <a:r>
              <a:rPr lang="de-DE" dirty="0"/>
              <a:t>?</a:t>
            </a:r>
          </a:p>
          <a:p>
            <a:pPr marL="269875" lvl="1" indent="0">
              <a:buNone/>
            </a:pPr>
            <a:r>
              <a:rPr lang="de-DE" dirty="0">
                <a:solidFill>
                  <a:srgbClr val="37A5DD"/>
                </a:solidFill>
                <a:sym typeface="Wingdings" panose="05000000000000000000" pitchFamily="2" charset="2"/>
              </a:rPr>
              <a:t>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/>
              <a:t>Versuch eines </a:t>
            </a:r>
            <a:r>
              <a:rPr lang="de-DE" dirty="0" err="1"/>
              <a:t>Reconnects</a:t>
            </a:r>
            <a:r>
              <a:rPr lang="de-DE" dirty="0"/>
              <a:t> auf Basis von </a:t>
            </a:r>
            <a:r>
              <a:rPr lang="de-DE" dirty="0" err="1"/>
              <a:t>msExchPreviousMailboxGuid</a:t>
            </a:r>
            <a:r>
              <a:rPr lang="de-DE" dirty="0"/>
              <a:t> und </a:t>
            </a:r>
            <a:r>
              <a:rPr lang="de-DE" dirty="0" err="1"/>
              <a:t>msExchPreviousMailboxGuid</a:t>
            </a:r>
            <a:r>
              <a:rPr lang="de-DE" dirty="0"/>
              <a:t> (</a:t>
            </a:r>
            <a:r>
              <a:rPr lang="de-DE" dirty="0" err="1"/>
              <a:t>best</a:t>
            </a:r>
            <a:r>
              <a:rPr lang="de-DE" dirty="0"/>
              <a:t> </a:t>
            </a:r>
            <a:r>
              <a:rPr lang="de-DE" dirty="0" err="1"/>
              <a:t>effort</a:t>
            </a:r>
            <a:r>
              <a:rPr lang="de-DE" dirty="0"/>
              <a:t>)</a:t>
            </a:r>
          </a:p>
          <a:p>
            <a:pPr lvl="1"/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2785C45-0302-6BE1-7468-86FA5C6E3D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Lizenzpflichtige Postfächer</a:t>
            </a:r>
          </a:p>
        </p:txBody>
      </p:sp>
    </p:spTree>
    <p:extLst>
      <p:ext uri="{BB962C8B-B14F-4D97-AF65-F5344CB8AC3E}">
        <p14:creationId xmlns:p14="http://schemas.microsoft.com/office/powerpoint/2010/main" val="39455707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8B2298A-E31A-0392-955D-AE1EE91B28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ostfach Verbind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9E3BE99-6E10-2A5A-CC20-F9A73F5D359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2. Prüfung</a:t>
            </a:r>
          </a:p>
          <a:p>
            <a:pPr lvl="1"/>
            <a:r>
              <a:rPr lang="de-DE" i="1" dirty="0" err="1"/>
              <a:t>ExchangeGuid</a:t>
            </a:r>
            <a:r>
              <a:rPr lang="de-DE" dirty="0"/>
              <a:t> ist nicht synchronisiert </a:t>
            </a:r>
          </a:p>
          <a:p>
            <a:pPr marL="269875" lvl="1" indent="0">
              <a:buNone/>
            </a:pPr>
            <a:r>
              <a:rPr lang="de-DE" dirty="0">
                <a:solidFill>
                  <a:srgbClr val="37A5DD"/>
                </a:solidFill>
                <a:sym typeface="Wingdings" panose="05000000000000000000" pitchFamily="2" charset="2"/>
              </a:rPr>
              <a:t></a:t>
            </a:r>
            <a:r>
              <a:rPr lang="de-DE" dirty="0">
                <a:sym typeface="Wingdings" panose="05000000000000000000" pitchFamily="2" charset="2"/>
              </a:rPr>
              <a:t> Erstellung eines neues EXO-Postfaches</a:t>
            </a:r>
            <a:br>
              <a:rPr lang="de-DE" dirty="0">
                <a:sym typeface="Wingdings" panose="05000000000000000000" pitchFamily="2" charset="2"/>
              </a:rPr>
            </a:br>
            <a:endParaRPr lang="de-DE" dirty="0">
              <a:sym typeface="Wingdings" panose="05000000000000000000" pitchFamily="2" charset="2"/>
            </a:endParaRPr>
          </a:p>
          <a:p>
            <a:pPr lvl="1"/>
            <a:r>
              <a:rPr lang="de-DE" dirty="0" err="1"/>
              <a:t>ExchangeGuid</a:t>
            </a:r>
            <a:r>
              <a:rPr lang="de-DE" dirty="0"/>
              <a:t> ist von On-Premises synchronisiert</a:t>
            </a:r>
          </a:p>
          <a:p>
            <a:pPr marL="269875" lvl="1" indent="0">
              <a:buNone/>
            </a:pPr>
            <a:r>
              <a:rPr lang="de-DE" dirty="0">
                <a:solidFill>
                  <a:srgbClr val="37A5DD"/>
                </a:solidFill>
                <a:sym typeface="Wingdings" panose="05000000000000000000" pitchFamily="2" charset="2"/>
              </a:rPr>
              <a:t>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Provisionierungsfehler</a:t>
            </a:r>
            <a:r>
              <a:rPr lang="de-DE" dirty="0">
                <a:sym typeface="Wingdings" panose="05000000000000000000" pitchFamily="2" charset="2"/>
              </a:rPr>
              <a:t> im Microsoft 365 Admin Center</a:t>
            </a:r>
            <a:br>
              <a:rPr lang="de-DE" dirty="0">
                <a:sym typeface="Wingdings" panose="05000000000000000000" pitchFamily="2" charset="2"/>
              </a:rPr>
            </a:br>
            <a:endParaRPr lang="de-DE" dirty="0">
              <a:sym typeface="Wingdings" panose="05000000000000000000" pitchFamily="2" charset="2"/>
            </a:endParaRPr>
          </a:p>
          <a:p>
            <a:pPr marL="287338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his user's on-premises mailbox hasn't been migrated to Exchange Online. The Exchange Online mailbox will be available after migration is completed. </a:t>
            </a:r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  <a:p>
            <a:pPr lvl="1"/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2785C45-0302-6BE1-7468-86FA5C6E3D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Lizenzpflichtige Postfächer</a:t>
            </a:r>
          </a:p>
        </p:txBody>
      </p:sp>
    </p:spTree>
    <p:extLst>
      <p:ext uri="{BB962C8B-B14F-4D97-AF65-F5344CB8AC3E}">
        <p14:creationId xmlns:p14="http://schemas.microsoft.com/office/powerpoint/2010/main" val="36363219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 bldLvl="2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8B2298A-E31A-0392-955D-AE1EE91B28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ostfach Erstell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9E3BE99-6E10-2A5A-CC20-F9A73F5D359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Prüfung</a:t>
            </a:r>
          </a:p>
          <a:p>
            <a:pPr lvl="1"/>
            <a:r>
              <a:rPr lang="de-DE" i="1" dirty="0" err="1"/>
              <a:t>ExchangeGuid</a:t>
            </a:r>
            <a:r>
              <a:rPr lang="de-DE" dirty="0"/>
              <a:t> ist </a:t>
            </a:r>
            <a:r>
              <a:rPr lang="de-DE" b="1" dirty="0"/>
              <a:t>nicht synchronisiert </a:t>
            </a:r>
          </a:p>
          <a:p>
            <a:pPr marL="269875" lvl="1" indent="0">
              <a:buNone/>
            </a:pPr>
            <a:r>
              <a:rPr lang="de-DE" dirty="0">
                <a:solidFill>
                  <a:srgbClr val="37A5DD"/>
                </a:solidFill>
                <a:sym typeface="Wingdings" panose="05000000000000000000" pitchFamily="2" charset="2"/>
              </a:rPr>
              <a:t></a:t>
            </a:r>
            <a:r>
              <a:rPr lang="de-DE" dirty="0">
                <a:sym typeface="Wingdings" panose="05000000000000000000" pitchFamily="2" charset="2"/>
              </a:rPr>
              <a:t> Erstellung eines neues EXO-Postfaches für synchronisierte und Cloud-</a:t>
            </a:r>
            <a:r>
              <a:rPr lang="de-DE" dirty="0" err="1">
                <a:sym typeface="Wingdings" panose="05000000000000000000" pitchFamily="2" charset="2"/>
              </a:rPr>
              <a:t>Only</a:t>
            </a:r>
            <a:r>
              <a:rPr lang="de-DE" dirty="0">
                <a:sym typeface="Wingdings" panose="05000000000000000000" pitchFamily="2" charset="2"/>
              </a:rPr>
              <a:t>-Benutzerkonten</a:t>
            </a:r>
            <a:br>
              <a:rPr lang="de-DE" dirty="0">
                <a:sym typeface="Wingdings" panose="05000000000000000000" pitchFamily="2" charset="2"/>
              </a:rPr>
            </a:br>
            <a:endParaRPr lang="de-DE" dirty="0">
              <a:sym typeface="Wingdings" panose="05000000000000000000" pitchFamily="2" charset="2"/>
            </a:endParaRPr>
          </a:p>
          <a:p>
            <a:pPr lvl="1"/>
            <a:r>
              <a:rPr lang="de-DE" dirty="0" err="1"/>
              <a:t>ExchangeGuid</a:t>
            </a:r>
            <a:r>
              <a:rPr lang="de-DE" dirty="0"/>
              <a:t> </a:t>
            </a:r>
            <a:r>
              <a:rPr lang="de-DE" b="1" dirty="0"/>
              <a:t>ist</a:t>
            </a:r>
            <a:r>
              <a:rPr lang="de-DE" dirty="0"/>
              <a:t> von On-Premises </a:t>
            </a:r>
            <a:r>
              <a:rPr lang="de-DE" b="1" dirty="0"/>
              <a:t>synchronisiert</a:t>
            </a:r>
          </a:p>
          <a:p>
            <a:pPr marL="269875" lvl="1" indent="0">
              <a:buNone/>
            </a:pPr>
            <a:r>
              <a:rPr lang="de-DE" dirty="0">
                <a:solidFill>
                  <a:srgbClr val="37A5DD"/>
                </a:solidFill>
                <a:sym typeface="Wingdings" panose="05000000000000000000" pitchFamily="2" charset="2"/>
              </a:rPr>
              <a:t>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Provisionierungsfehler</a:t>
            </a:r>
            <a:r>
              <a:rPr lang="de-DE" dirty="0">
                <a:sym typeface="Wingdings" panose="05000000000000000000" pitchFamily="2" charset="2"/>
              </a:rPr>
              <a:t> im Microsoft 365 Admin Center</a:t>
            </a:r>
            <a:br>
              <a:rPr lang="de-DE" dirty="0">
                <a:sym typeface="Wingdings" panose="05000000000000000000" pitchFamily="2" charset="2"/>
              </a:rPr>
            </a:br>
            <a:endParaRPr lang="de-DE" dirty="0">
              <a:sym typeface="Wingdings" panose="05000000000000000000" pitchFamily="2" charset="2"/>
            </a:endParaRPr>
          </a:p>
          <a:p>
            <a:pPr marL="287338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his user's on-premises mailbox hasn't been migrated to Exchange Online. The Exchange Online mailbox will be available after migration is completed. </a:t>
            </a:r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  <a:p>
            <a:pPr lvl="1"/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2785C45-0302-6BE1-7468-86FA5C6E3D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Lizenzpflichtige Postfächer</a:t>
            </a:r>
          </a:p>
        </p:txBody>
      </p:sp>
    </p:spTree>
    <p:extLst>
      <p:ext uri="{BB962C8B-B14F-4D97-AF65-F5344CB8AC3E}">
        <p14:creationId xmlns:p14="http://schemas.microsoft.com/office/powerpoint/2010/main" val="2738210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 bldLvl="2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8B2298A-E31A-0392-955D-AE1EE91B28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ostfach Verbinden / Erstell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9E3BE99-6E10-2A5A-CC20-F9A73F5D359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b="1" dirty="0"/>
              <a:t>SLA</a:t>
            </a:r>
            <a:r>
              <a:rPr lang="de-DE" dirty="0"/>
              <a:t> für die Provisionierung oder </a:t>
            </a:r>
            <a:r>
              <a:rPr lang="de-DE" dirty="0" err="1"/>
              <a:t>Deprovisionierung</a:t>
            </a:r>
            <a:r>
              <a:rPr lang="de-DE" dirty="0"/>
              <a:t> eines Postfaches sind </a:t>
            </a:r>
            <a:r>
              <a:rPr lang="de-DE" b="1" dirty="0"/>
              <a:t>24h</a:t>
            </a:r>
          </a:p>
          <a:p>
            <a:r>
              <a:rPr lang="de-DE" dirty="0"/>
              <a:t>Möglichkeit eines erneuten </a:t>
            </a:r>
            <a:r>
              <a:rPr lang="de-DE" dirty="0" err="1"/>
              <a:t>Provisionierungsversuches</a:t>
            </a:r>
            <a:endParaRPr lang="de-DE" dirty="0"/>
          </a:p>
          <a:p>
            <a:pPr marL="0" indent="0">
              <a:buNone/>
            </a:pPr>
            <a:endParaRPr lang="de-DE" sz="14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de-DE" sz="14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do-MsolProvisionUser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-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bjectId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(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et-MSOLUser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-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UserPrincipalName</a:t>
            </a:r>
            <a:r>
              <a:rPr lang="de-DE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User1@contoso.com).</a:t>
            </a:r>
            <a:r>
              <a:rPr lang="de-DE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bjectID</a:t>
            </a:r>
            <a:endParaRPr lang="de-DE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dirty="0"/>
          </a:p>
          <a:p>
            <a:endParaRPr lang="de-DE" dirty="0"/>
          </a:p>
          <a:p>
            <a:pPr lvl="1"/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2785C45-0302-6BE1-7468-86FA5C6E3D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Lizenzpflichtige Postfächer</a:t>
            </a:r>
          </a:p>
        </p:txBody>
      </p:sp>
    </p:spTree>
    <p:extLst>
      <p:ext uri="{BB962C8B-B14F-4D97-AF65-F5344CB8AC3E}">
        <p14:creationId xmlns:p14="http://schemas.microsoft.com/office/powerpoint/2010/main" val="35945375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A909D6B9-5D1D-1334-E19B-16654E3B8A9F}"/>
              </a:ext>
            </a:extLst>
          </p:cNvPr>
          <p:cNvSpPr/>
          <p:nvPr/>
        </p:nvSpPr>
        <p:spPr>
          <a:xfrm>
            <a:off x="2170176" y="1633728"/>
            <a:ext cx="7876032" cy="4169664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D7A2D598-B3FE-4D80-9241-7F9C19D614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ponsor</a:t>
            </a:r>
          </a:p>
        </p:txBody>
      </p:sp>
      <p:pic>
        <p:nvPicPr>
          <p:cNvPr id="1026" name="Picture 2" descr="Computacenter - Wikipedia">
            <a:extLst>
              <a:ext uri="{FF2B5EF4-FFF2-40B4-BE49-F238E27FC236}">
                <a16:creationId xmlns:a16="http://schemas.microsoft.com/office/drawing/2014/main" id="{29602C08-83FC-01F2-084C-BE0D3A02B8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4580" y="1777796"/>
            <a:ext cx="7482840" cy="3841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5318940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23B24C39-7937-90BB-66C2-90D50BD3A6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36D1129-2AE2-6ED0-635C-0315F7E754E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976" y="2056797"/>
            <a:ext cx="3108047" cy="2744405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361138302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87D95A5-39CB-FA76-0C40-14C7E1EF2F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sourc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F9E59A6-5B4D-8AD2-A7CF-D2E2AFF6E18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>
                <a:hlinkClick r:id="rId2"/>
              </a:rPr>
              <a:t>Cmdlet </a:t>
            </a:r>
            <a:r>
              <a:rPr lang="de-DE" dirty="0" err="1">
                <a:hlinkClick r:id="rId2"/>
              </a:rPr>
              <a:t>Disable</a:t>
            </a:r>
            <a:r>
              <a:rPr lang="de-DE" dirty="0">
                <a:hlinkClick r:id="rId2"/>
              </a:rPr>
              <a:t>-Mailbox</a:t>
            </a:r>
            <a:endParaRPr lang="de-DE" dirty="0"/>
          </a:p>
          <a:p>
            <a:r>
              <a:rPr lang="de-DE" dirty="0">
                <a:hlinkClick r:id="rId3"/>
              </a:rPr>
              <a:t>Cmdlet </a:t>
            </a:r>
            <a:r>
              <a:rPr lang="de-DE" dirty="0" err="1">
                <a:hlinkClick r:id="rId3"/>
              </a:rPr>
              <a:t>Disable-RemoteMailbox</a:t>
            </a:r>
            <a:endParaRPr lang="de-DE" dirty="0"/>
          </a:p>
          <a:p>
            <a:r>
              <a:rPr lang="de-DE" dirty="0">
                <a:hlinkClick r:id="rId4"/>
              </a:rPr>
              <a:t>Cmdlet Remove-Mailbox</a:t>
            </a:r>
            <a:r>
              <a:rPr lang="de-DE" dirty="0"/>
              <a:t> </a:t>
            </a:r>
          </a:p>
          <a:p>
            <a:r>
              <a:rPr lang="en-US" dirty="0">
                <a:hlinkClick r:id="rId5"/>
              </a:rPr>
              <a:t>How to identify the type of hold placed on an Exchange Online mailbox</a:t>
            </a:r>
            <a:endParaRPr lang="en-US" dirty="0"/>
          </a:p>
          <a:p>
            <a:r>
              <a:rPr lang="en-US" dirty="0">
                <a:hlinkClick r:id="rId6"/>
              </a:rPr>
              <a:t>How to work with Inactive Mailboxes</a:t>
            </a:r>
            <a:r>
              <a:rPr lang="en-US" dirty="0"/>
              <a:t> </a:t>
            </a:r>
          </a:p>
          <a:p>
            <a:r>
              <a:rPr lang="en-US" dirty="0">
                <a:hlinkClick r:id="rId7"/>
              </a:rPr>
              <a:t>Permanently Clear Previous Mailbox Info</a:t>
            </a:r>
            <a:r>
              <a:rPr lang="en-US" dirty="0"/>
              <a:t> </a:t>
            </a:r>
          </a:p>
          <a:p>
            <a:r>
              <a:rPr lang="en-US" dirty="0">
                <a:hlinkClick r:id="rId8"/>
              </a:rPr>
              <a:t>"Setting up..." messages in the Microsoft 365 admin center</a:t>
            </a:r>
            <a:r>
              <a:rPr lang="en-US" dirty="0"/>
              <a:t> </a:t>
            </a:r>
          </a:p>
          <a:p>
            <a:endParaRPr lang="en-US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548D848-16C7-71FF-2FF3-88F09294FDA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667512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7753695D-B6FA-4781-8B90-0542261572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de-DE" sz="4400" dirty="0"/>
              <a:t>MEC Technical Airlift </a:t>
            </a:r>
            <a:br>
              <a:rPr lang="de-DE" sz="4400" dirty="0"/>
            </a:br>
            <a:r>
              <a:rPr lang="de-DE" sz="4400" dirty="0"/>
              <a:t>und mehr zu Exchange Server</a:t>
            </a:r>
            <a:br>
              <a:rPr lang="de-DE" sz="4400" dirty="0"/>
            </a:br>
            <a:endParaRPr lang="de-DE" sz="4400" dirty="0"/>
          </a:p>
        </p:txBody>
      </p:sp>
      <p:sp>
        <p:nvSpPr>
          <p:cNvPr id="9" name="Untertitel 8">
            <a:extLst>
              <a:ext uri="{FF2B5EF4-FFF2-40B4-BE49-F238E27FC236}">
                <a16:creationId xmlns:a16="http://schemas.microsoft.com/office/drawing/2014/main" id="{7ACD5D95-6785-48AB-A08F-F511798021F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Evgenij Smirnov | Thomas Stensitzki</a:t>
            </a:r>
          </a:p>
        </p:txBody>
      </p:sp>
    </p:spTree>
    <p:extLst>
      <p:ext uri="{BB962C8B-B14F-4D97-AF65-F5344CB8AC3E}">
        <p14:creationId xmlns:p14="http://schemas.microsoft.com/office/powerpoint/2010/main" val="612878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EF33DA07-BDE5-4D8B-B332-D6D77536E0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C 2022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12B048C9-F44C-C380-8C1A-E36BAEE20DD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Online Event</a:t>
            </a:r>
          </a:p>
          <a:p>
            <a:r>
              <a:rPr lang="de-DE" dirty="0"/>
              <a:t>13. &amp; 14. September 2022</a:t>
            </a:r>
          </a:p>
          <a:p>
            <a:r>
              <a:rPr lang="de-DE" dirty="0"/>
              <a:t>Agenda ist online</a:t>
            </a:r>
          </a:p>
          <a:p>
            <a:r>
              <a:rPr lang="de-DE" dirty="0">
                <a:hlinkClick r:id="rId3"/>
              </a:rPr>
              <a:t>https://mecairlift.event.microsoft.com/</a:t>
            </a:r>
            <a:r>
              <a:rPr lang="de-DE" dirty="0"/>
              <a:t>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1848483-1018-11C0-E76C-5FDB4C89F38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Microsoft Exchange Community (MEC) Technical Airlift 2022</a:t>
            </a:r>
          </a:p>
        </p:txBody>
      </p:sp>
    </p:spTree>
    <p:extLst>
      <p:ext uri="{BB962C8B-B14F-4D97-AF65-F5344CB8AC3E}">
        <p14:creationId xmlns:p14="http://schemas.microsoft.com/office/powerpoint/2010/main" val="16539574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EF33DA07-BDE5-4D8B-B332-D6D77536E0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gnite 2022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12B048C9-F44C-C380-8C1A-E36BAEE20DD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Hybrid Event</a:t>
            </a:r>
          </a:p>
          <a:p>
            <a:r>
              <a:rPr lang="de-DE" dirty="0"/>
              <a:t>12. – 14. Oktober 2022</a:t>
            </a:r>
          </a:p>
          <a:p>
            <a:r>
              <a:rPr lang="de-DE" dirty="0">
                <a:hlinkClick r:id="rId3"/>
              </a:rPr>
              <a:t>https://ignite.microsoft.com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1848483-1018-11C0-E76C-5FDB4C89F38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Microsoft Exchange Community (MEC) Technical Airlift 2022</a:t>
            </a:r>
          </a:p>
        </p:txBody>
      </p:sp>
    </p:spTree>
    <p:extLst>
      <p:ext uri="{BB962C8B-B14F-4D97-AF65-F5344CB8AC3E}">
        <p14:creationId xmlns:p14="http://schemas.microsoft.com/office/powerpoint/2010/main" val="157223623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A9802E-6FC2-E999-C70D-058BA9E5B6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change Server Security Updat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2FABDA2-4CCD-9A0F-2F17-FD5CC8C2BE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>
                <a:hlinkClick r:id="rId2"/>
              </a:rPr>
              <a:t>August 2022 Exchange Server Security Updates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CBF9BD0-D8B4-19AD-04F2-322CD6B14C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August 2022</a:t>
            </a:r>
          </a:p>
        </p:txBody>
      </p:sp>
      <p:pic>
        <p:nvPicPr>
          <p:cNvPr id="1026" name="Picture 2" descr="thumbnail image 1 of blog post titled &#10; &#10; &#10;  &#10; &#10; &#10; &#10;    &#10;  &#10;   &#10;    &#10;      &#10;       Released: August 2022 Exchange Server Security Updates&#10;       &#10;      &#10;     &#10;   &#10;  &#10; &#10;   &#10; &#10; &#10; &#10; &#10; &#10;">
            <a:extLst>
              <a:ext uri="{FF2B5EF4-FFF2-40B4-BE49-F238E27FC236}">
                <a16:creationId xmlns:a16="http://schemas.microsoft.com/office/drawing/2014/main" id="{540423D6-3BED-2BEE-F861-4DAD16C835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3736" y="2252753"/>
            <a:ext cx="7264527" cy="371961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4988450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A9802E-6FC2-E999-C70D-058BA9E5B6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change Server Security Updat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2FABDA2-4CCD-9A0F-2F17-FD5CC8C2BE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Kumulatives Security Update, beinhaltet Mai 2022 SU</a:t>
            </a:r>
          </a:p>
          <a:p>
            <a:r>
              <a:rPr lang="de-DE" dirty="0"/>
              <a:t>Aktivierung von IIS Windows Extended </a:t>
            </a:r>
            <a:r>
              <a:rPr lang="de-DE" dirty="0" err="1"/>
              <a:t>Protection</a:t>
            </a:r>
            <a:r>
              <a:rPr lang="de-DE" dirty="0"/>
              <a:t> (WEP)</a:t>
            </a:r>
          </a:p>
          <a:p>
            <a:pPr lvl="1"/>
            <a:r>
              <a:rPr lang="de-DE" dirty="0"/>
              <a:t>Unterstützt ab Exchange Server </a:t>
            </a:r>
            <a:r>
              <a:rPr lang="de-DE" b="1" dirty="0"/>
              <a:t>2013 CU23</a:t>
            </a:r>
            <a:r>
              <a:rPr lang="de-DE" dirty="0"/>
              <a:t>, Exchange Server </a:t>
            </a:r>
            <a:r>
              <a:rPr lang="de-DE" b="1" dirty="0"/>
              <a:t>2016 CU22</a:t>
            </a:r>
            <a:r>
              <a:rPr lang="de-DE" dirty="0"/>
              <a:t>, Exchange Server </a:t>
            </a:r>
            <a:r>
              <a:rPr lang="de-DE" b="1" dirty="0"/>
              <a:t>2019 CU11</a:t>
            </a:r>
          </a:p>
          <a:p>
            <a:r>
              <a:rPr lang="de-DE" dirty="0"/>
              <a:t>Keine Aktivierung bei</a:t>
            </a:r>
          </a:p>
          <a:p>
            <a:pPr lvl="1"/>
            <a:r>
              <a:rPr lang="de-DE" dirty="0"/>
              <a:t>Koexistenz mit öffentlichen Ordnern auf </a:t>
            </a:r>
            <a:r>
              <a:rPr lang="de-DE" b="1" dirty="0"/>
              <a:t>Exchange Server 2013 </a:t>
            </a:r>
          </a:p>
          <a:p>
            <a:pPr lvl="1"/>
            <a:r>
              <a:rPr lang="de-DE" dirty="0"/>
              <a:t>Öffentliche Ordner Hierarchie auf Exchange Server </a:t>
            </a:r>
            <a:r>
              <a:rPr lang="de-DE" b="1" dirty="0"/>
              <a:t>2016 CU22 </a:t>
            </a:r>
            <a:r>
              <a:rPr lang="de-DE" dirty="0"/>
              <a:t>oder Exchange Server </a:t>
            </a:r>
            <a:r>
              <a:rPr lang="de-DE" b="1" dirty="0"/>
              <a:t>2019 CU11</a:t>
            </a:r>
          </a:p>
          <a:p>
            <a:pPr marL="269875" lvl="1" indent="0">
              <a:buNone/>
            </a:pPr>
            <a:r>
              <a:rPr lang="de-DE" dirty="0">
                <a:solidFill>
                  <a:srgbClr val="37A5DD"/>
                </a:solidFill>
                <a:sym typeface="Wingdings" panose="05000000000000000000" pitchFamily="2" charset="2"/>
              </a:rPr>
              <a:t></a:t>
            </a:r>
            <a:r>
              <a:rPr lang="de-DE" dirty="0">
                <a:sym typeface="Wingdings" panose="05000000000000000000" pitchFamily="2" charset="2"/>
              </a:rPr>
              <a:t> Aktualisierung auf </a:t>
            </a:r>
            <a:r>
              <a:rPr lang="de-DE" b="1" dirty="0">
                <a:sym typeface="Wingdings" panose="05000000000000000000" pitchFamily="2" charset="2"/>
              </a:rPr>
              <a:t>2022 H1 CU</a:t>
            </a:r>
          </a:p>
          <a:p>
            <a:pPr lvl="1"/>
            <a:r>
              <a:rPr lang="de-DE" dirty="0"/>
              <a:t>Modern Hybrid Konfiguration </a:t>
            </a:r>
          </a:p>
          <a:p>
            <a:pPr lvl="1"/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CBF9BD0-D8B4-19AD-04F2-322CD6B14C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August 2022</a:t>
            </a:r>
          </a:p>
        </p:txBody>
      </p:sp>
    </p:spTree>
    <p:extLst>
      <p:ext uri="{BB962C8B-B14F-4D97-AF65-F5344CB8AC3E}">
        <p14:creationId xmlns:p14="http://schemas.microsoft.com/office/powerpoint/2010/main" val="978247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A9802E-6FC2-E999-C70D-058BA9E5B6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change Server Security Updat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2FABDA2-4CCD-9A0F-2F17-FD5CC8C2BE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Nicht unterstützt</a:t>
            </a:r>
          </a:p>
          <a:p>
            <a:pPr lvl="1"/>
            <a:r>
              <a:rPr lang="de-DE" dirty="0"/>
              <a:t>SSL-Offloading</a:t>
            </a:r>
          </a:p>
          <a:p>
            <a:pPr lvl="1"/>
            <a:r>
              <a:rPr lang="de-DE" dirty="0"/>
              <a:t>SSL-</a:t>
            </a:r>
            <a:r>
              <a:rPr lang="de-DE" dirty="0" err="1"/>
              <a:t>Bridging</a:t>
            </a:r>
            <a:endParaRPr lang="de-DE" dirty="0"/>
          </a:p>
          <a:p>
            <a:r>
              <a:rPr lang="de-DE" dirty="0"/>
              <a:t>Konsistenz der TLS-Konfiguration auf allen Exchange Servern</a:t>
            </a:r>
          </a:p>
          <a:p>
            <a:pPr lvl="1"/>
            <a:r>
              <a:rPr lang="de-DE" dirty="0"/>
              <a:t>TLS-Protokoll-Einstellungen</a:t>
            </a:r>
          </a:p>
          <a:p>
            <a:pPr lvl="1"/>
            <a:r>
              <a:rPr lang="de-DE" dirty="0"/>
              <a:t>TLS-</a:t>
            </a:r>
            <a:r>
              <a:rPr lang="de-DE" dirty="0" err="1"/>
              <a:t>Cipher</a:t>
            </a:r>
            <a:r>
              <a:rPr lang="de-DE" dirty="0"/>
              <a:t>-Konfiguration</a:t>
            </a:r>
          </a:p>
          <a:p>
            <a:pPr marL="269875" lvl="1" indent="0">
              <a:buNone/>
            </a:pPr>
            <a:r>
              <a:rPr lang="de-DE" dirty="0">
                <a:solidFill>
                  <a:srgbClr val="37A5DD"/>
                </a:solidFill>
                <a:sym typeface="Wingdings" panose="05000000000000000000" pitchFamily="2" charset="2"/>
              </a:rPr>
              <a:t></a:t>
            </a:r>
            <a:r>
              <a:rPr lang="de-DE" dirty="0">
                <a:sym typeface="Wingdings" panose="05000000000000000000" pitchFamily="2" charset="2"/>
              </a:rPr>
              <a:t> Exchange Server TLS </a:t>
            </a:r>
            <a:r>
              <a:rPr lang="de-DE" dirty="0" err="1">
                <a:sym typeface="Wingdings" panose="05000000000000000000" pitchFamily="2" charset="2"/>
              </a:rPr>
              <a:t>configuration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best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practices</a:t>
            </a:r>
            <a:endParaRPr lang="de-DE" dirty="0"/>
          </a:p>
          <a:p>
            <a:endParaRPr lang="de-DE" dirty="0"/>
          </a:p>
          <a:p>
            <a:r>
              <a:rPr lang="de-DE" dirty="0"/>
              <a:t>Prüfung per HealthChecker-Skript vor Aktivierung von WEP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CBF9BD0-D8B4-19AD-04F2-322CD6B14C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August 2022</a:t>
            </a:r>
          </a:p>
        </p:txBody>
      </p:sp>
    </p:spTree>
    <p:extLst>
      <p:ext uri="{BB962C8B-B14F-4D97-AF65-F5344CB8AC3E}">
        <p14:creationId xmlns:p14="http://schemas.microsoft.com/office/powerpoint/2010/main" val="35769042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23B24C39-7937-90BB-66C2-90D50BD3A6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36D1129-2AE2-6ED0-635C-0315F7E754E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976" y="2056797"/>
            <a:ext cx="3108047" cy="2744405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341540134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082680C-8B9F-AF25-5540-A5A1842E27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sourc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7F152D5-D670-257F-0D75-E161D94B4D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>
                <a:hlinkClick r:id="rId2"/>
              </a:rPr>
              <a:t>IIS Windows Extended </a:t>
            </a:r>
            <a:r>
              <a:rPr lang="de-DE" dirty="0" err="1">
                <a:hlinkClick r:id="rId2"/>
              </a:rPr>
              <a:t>Protection</a:t>
            </a:r>
            <a:endParaRPr lang="de-DE" dirty="0"/>
          </a:p>
          <a:p>
            <a:r>
              <a:rPr lang="en-US" dirty="0">
                <a:hlinkClick r:id="rId3"/>
              </a:rPr>
              <a:t>Exchange Server Support for Windows Extended Protection</a:t>
            </a:r>
            <a:r>
              <a:rPr lang="en-US" dirty="0"/>
              <a:t> </a:t>
            </a:r>
          </a:p>
          <a:p>
            <a:r>
              <a:rPr lang="de-DE" dirty="0">
                <a:hlinkClick r:id="rId4"/>
              </a:rPr>
              <a:t>Exchange Server TLS </a:t>
            </a:r>
            <a:r>
              <a:rPr lang="de-DE" dirty="0" err="1">
                <a:hlinkClick r:id="rId4"/>
              </a:rPr>
              <a:t>configuration</a:t>
            </a:r>
            <a:r>
              <a:rPr lang="de-DE" dirty="0">
                <a:hlinkClick r:id="rId4"/>
              </a:rPr>
              <a:t> </a:t>
            </a:r>
            <a:r>
              <a:rPr lang="de-DE" dirty="0" err="1">
                <a:hlinkClick r:id="rId4"/>
              </a:rPr>
              <a:t>best</a:t>
            </a:r>
            <a:r>
              <a:rPr lang="de-DE" dirty="0">
                <a:hlinkClick r:id="rId4"/>
              </a:rPr>
              <a:t> </a:t>
            </a:r>
            <a:r>
              <a:rPr lang="de-DE" dirty="0" err="1">
                <a:hlinkClick r:id="rId4"/>
              </a:rPr>
              <a:t>practices</a:t>
            </a:r>
            <a:r>
              <a:rPr lang="de-DE" dirty="0"/>
              <a:t> </a:t>
            </a:r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A5D26AE-2433-ADD5-0D27-5FA426E827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87901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E62FD1-8696-4A34-B061-3373BFCBD0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Meetup Q2 2022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A9BE1F8-07C8-4A22-93C8-5725DE760CD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Die Geheimnisse der Exchange Online Postfach-Provisionierung</a:t>
            </a:r>
            <a:br>
              <a:rPr lang="de-DE" dirty="0"/>
            </a:br>
            <a:r>
              <a:rPr lang="de-DE" dirty="0"/>
              <a:t>- </a:t>
            </a:r>
            <a:r>
              <a:rPr lang="de-DE" i="1" dirty="0"/>
              <a:t>Thomas Stensitzki</a:t>
            </a:r>
            <a:br>
              <a:rPr lang="de-DE" dirty="0"/>
            </a:br>
            <a:endParaRPr lang="de-DE" dirty="0"/>
          </a:p>
          <a:p>
            <a:r>
              <a:rPr lang="de-DE" dirty="0"/>
              <a:t>MEC Technical Airlift, Exchange Security Update </a:t>
            </a:r>
            <a:r>
              <a:rPr lang="de-DE"/>
              <a:t>und mehr</a:t>
            </a:r>
            <a:br>
              <a:rPr lang="en-US" dirty="0"/>
            </a:br>
            <a:r>
              <a:rPr lang="en-US" i="1" dirty="0"/>
              <a:t>- Evgenij Smirnov, Thomas Stensitzki</a:t>
            </a:r>
          </a:p>
          <a:p>
            <a:endParaRPr lang="en-US" dirty="0"/>
          </a:p>
          <a:p>
            <a:r>
              <a:rPr lang="en-US" dirty="0"/>
              <a:t>Exchange Q &amp; A</a:t>
            </a:r>
            <a:br>
              <a:rPr lang="de-DE" dirty="0"/>
            </a:b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557E012-3DD2-45DD-AA48-E53C4BF760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3060FA8B-3FE8-41AF-887D-70CB325A73FF}"/>
              </a:ext>
            </a:extLst>
          </p:cNvPr>
          <p:cNvSpPr txBox="1"/>
          <p:nvPr/>
        </p:nvSpPr>
        <p:spPr>
          <a:xfrm>
            <a:off x="1714500" y="5513205"/>
            <a:ext cx="96393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Die Talks werden aufgezeichnet. The </a:t>
            </a:r>
            <a:r>
              <a:rPr lang="de-DE" sz="1600" dirty="0" err="1"/>
              <a:t>sessions</a:t>
            </a:r>
            <a:r>
              <a:rPr lang="de-DE" sz="1600" dirty="0"/>
              <a:t> will be </a:t>
            </a:r>
            <a:r>
              <a:rPr lang="de-DE" sz="1600" dirty="0" err="1"/>
              <a:t>recorded</a:t>
            </a:r>
            <a:r>
              <a:rPr lang="de-DE" sz="1600" dirty="0"/>
              <a:t>. </a:t>
            </a:r>
            <a:br>
              <a:rPr lang="de-DE" sz="1600" dirty="0"/>
            </a:br>
            <a:r>
              <a:rPr lang="de-DE" sz="1600" dirty="0">
                <a:hlinkClick r:id="rId3"/>
              </a:rPr>
              <a:t>https://go.granikos.eu/EXUSG-Recs</a:t>
            </a:r>
            <a:r>
              <a:rPr lang="de-DE" sz="1600" dirty="0"/>
              <a:t> </a:t>
            </a:r>
          </a:p>
        </p:txBody>
      </p:sp>
      <p:grpSp>
        <p:nvGrpSpPr>
          <p:cNvPr id="6" name="Grafik 3" descr="Webcam">
            <a:extLst>
              <a:ext uri="{FF2B5EF4-FFF2-40B4-BE49-F238E27FC236}">
                <a16:creationId xmlns:a16="http://schemas.microsoft.com/office/drawing/2014/main" id="{D887B6D5-E084-4C12-9799-A7C0F958FEEC}"/>
              </a:ext>
            </a:extLst>
          </p:cNvPr>
          <p:cNvGrpSpPr/>
          <p:nvPr/>
        </p:nvGrpSpPr>
        <p:grpSpPr>
          <a:xfrm>
            <a:off x="838200" y="5291243"/>
            <a:ext cx="914400" cy="914400"/>
            <a:chOff x="838198" y="5792681"/>
            <a:chExt cx="914400" cy="914400"/>
          </a:xfrm>
          <a:solidFill>
            <a:schemeClr val="accent1"/>
          </a:solidFill>
        </p:grpSpPr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EA8C525A-4365-4D83-86B5-F73673846B06}"/>
                </a:ext>
              </a:extLst>
            </p:cNvPr>
            <p:cNvSpPr/>
            <p:nvPr/>
          </p:nvSpPr>
          <p:spPr>
            <a:xfrm>
              <a:off x="1028698" y="5926031"/>
              <a:ext cx="533400" cy="647700"/>
            </a:xfrm>
            <a:custGeom>
              <a:avLst/>
              <a:gdLst>
                <a:gd name="connsiteX0" fmla="*/ 114300 w 533400"/>
                <a:gd name="connsiteY0" fmla="*/ 266700 h 647700"/>
                <a:gd name="connsiteX1" fmla="*/ 266700 w 533400"/>
                <a:gd name="connsiteY1" fmla="*/ 114300 h 647700"/>
                <a:gd name="connsiteX2" fmla="*/ 419100 w 533400"/>
                <a:gd name="connsiteY2" fmla="*/ 266700 h 647700"/>
                <a:gd name="connsiteX3" fmla="*/ 266700 w 533400"/>
                <a:gd name="connsiteY3" fmla="*/ 419100 h 647700"/>
                <a:gd name="connsiteX4" fmla="*/ 114300 w 533400"/>
                <a:gd name="connsiteY4" fmla="*/ 266700 h 647700"/>
                <a:gd name="connsiteX5" fmla="*/ 266700 w 533400"/>
                <a:gd name="connsiteY5" fmla="*/ 38100 h 647700"/>
                <a:gd name="connsiteX6" fmla="*/ 285750 w 533400"/>
                <a:gd name="connsiteY6" fmla="*/ 57150 h 647700"/>
                <a:gd name="connsiteX7" fmla="*/ 266700 w 533400"/>
                <a:gd name="connsiteY7" fmla="*/ 76200 h 647700"/>
                <a:gd name="connsiteX8" fmla="*/ 247650 w 533400"/>
                <a:gd name="connsiteY8" fmla="*/ 57150 h 647700"/>
                <a:gd name="connsiteX9" fmla="*/ 266700 w 533400"/>
                <a:gd name="connsiteY9" fmla="*/ 38100 h 647700"/>
                <a:gd name="connsiteX10" fmla="*/ 461963 w 533400"/>
                <a:gd name="connsiteY10" fmla="*/ 586740 h 647700"/>
                <a:gd name="connsiteX11" fmla="*/ 342900 w 533400"/>
                <a:gd name="connsiteY11" fmla="*/ 571500 h 647700"/>
                <a:gd name="connsiteX12" fmla="*/ 342900 w 533400"/>
                <a:gd name="connsiteY12" fmla="*/ 521970 h 647700"/>
                <a:gd name="connsiteX13" fmla="*/ 533400 w 533400"/>
                <a:gd name="connsiteY13" fmla="*/ 266700 h 647700"/>
                <a:gd name="connsiteX14" fmla="*/ 266700 w 533400"/>
                <a:gd name="connsiteY14" fmla="*/ 0 h 647700"/>
                <a:gd name="connsiteX15" fmla="*/ 0 w 533400"/>
                <a:gd name="connsiteY15" fmla="*/ 266700 h 647700"/>
                <a:gd name="connsiteX16" fmla="*/ 190500 w 533400"/>
                <a:gd name="connsiteY16" fmla="*/ 521970 h 647700"/>
                <a:gd name="connsiteX17" fmla="*/ 190500 w 533400"/>
                <a:gd name="connsiteY17" fmla="*/ 571500 h 647700"/>
                <a:gd name="connsiteX18" fmla="*/ 71438 w 533400"/>
                <a:gd name="connsiteY18" fmla="*/ 586740 h 647700"/>
                <a:gd name="connsiteX19" fmla="*/ 38100 w 533400"/>
                <a:gd name="connsiteY19" fmla="*/ 624840 h 647700"/>
                <a:gd name="connsiteX20" fmla="*/ 38100 w 533400"/>
                <a:gd name="connsiteY20" fmla="*/ 647700 h 647700"/>
                <a:gd name="connsiteX21" fmla="*/ 495300 w 533400"/>
                <a:gd name="connsiteY21" fmla="*/ 647700 h 647700"/>
                <a:gd name="connsiteX22" fmla="*/ 495300 w 533400"/>
                <a:gd name="connsiteY22" fmla="*/ 623888 h 647700"/>
                <a:gd name="connsiteX23" fmla="*/ 461963 w 533400"/>
                <a:gd name="connsiteY23" fmla="*/ 58674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33400" h="647700">
                  <a:moveTo>
                    <a:pt x="114300" y="266700"/>
                  </a:moveTo>
                  <a:cubicBezTo>
                    <a:pt x="114300" y="182880"/>
                    <a:pt x="182880" y="114300"/>
                    <a:pt x="266700" y="114300"/>
                  </a:cubicBezTo>
                  <a:cubicBezTo>
                    <a:pt x="350520" y="114300"/>
                    <a:pt x="419100" y="182880"/>
                    <a:pt x="419100" y="266700"/>
                  </a:cubicBezTo>
                  <a:cubicBezTo>
                    <a:pt x="419100" y="350520"/>
                    <a:pt x="350520" y="419100"/>
                    <a:pt x="266700" y="419100"/>
                  </a:cubicBezTo>
                  <a:cubicBezTo>
                    <a:pt x="182880" y="419100"/>
                    <a:pt x="114300" y="350520"/>
                    <a:pt x="114300" y="266700"/>
                  </a:cubicBezTo>
                  <a:close/>
                  <a:moveTo>
                    <a:pt x="266700" y="38100"/>
                  </a:moveTo>
                  <a:cubicBezTo>
                    <a:pt x="277178" y="38100"/>
                    <a:pt x="285750" y="46672"/>
                    <a:pt x="285750" y="57150"/>
                  </a:cubicBezTo>
                  <a:cubicBezTo>
                    <a:pt x="285750" y="67628"/>
                    <a:pt x="277178" y="76200"/>
                    <a:pt x="266700" y="76200"/>
                  </a:cubicBezTo>
                  <a:cubicBezTo>
                    <a:pt x="256223" y="76200"/>
                    <a:pt x="247650" y="67628"/>
                    <a:pt x="247650" y="57150"/>
                  </a:cubicBezTo>
                  <a:cubicBezTo>
                    <a:pt x="247650" y="46672"/>
                    <a:pt x="256223" y="38100"/>
                    <a:pt x="266700" y="38100"/>
                  </a:cubicBezTo>
                  <a:close/>
                  <a:moveTo>
                    <a:pt x="461963" y="586740"/>
                  </a:moveTo>
                  <a:lnTo>
                    <a:pt x="342900" y="571500"/>
                  </a:lnTo>
                  <a:lnTo>
                    <a:pt x="342900" y="521970"/>
                  </a:lnTo>
                  <a:cubicBezTo>
                    <a:pt x="453390" y="489585"/>
                    <a:pt x="533400" y="387668"/>
                    <a:pt x="533400" y="266700"/>
                  </a:cubicBezTo>
                  <a:cubicBezTo>
                    <a:pt x="533400" y="119063"/>
                    <a:pt x="414338" y="0"/>
                    <a:pt x="266700" y="0"/>
                  </a:cubicBezTo>
                  <a:cubicBezTo>
                    <a:pt x="119063" y="0"/>
                    <a:pt x="0" y="119063"/>
                    <a:pt x="0" y="266700"/>
                  </a:cubicBezTo>
                  <a:cubicBezTo>
                    <a:pt x="0" y="387668"/>
                    <a:pt x="80010" y="489585"/>
                    <a:pt x="190500" y="521970"/>
                  </a:cubicBezTo>
                  <a:lnTo>
                    <a:pt x="190500" y="571500"/>
                  </a:lnTo>
                  <a:lnTo>
                    <a:pt x="71438" y="586740"/>
                  </a:lnTo>
                  <a:cubicBezTo>
                    <a:pt x="52388" y="589598"/>
                    <a:pt x="38100" y="605790"/>
                    <a:pt x="38100" y="624840"/>
                  </a:cubicBezTo>
                  <a:lnTo>
                    <a:pt x="38100" y="647700"/>
                  </a:lnTo>
                  <a:lnTo>
                    <a:pt x="495300" y="647700"/>
                  </a:lnTo>
                  <a:lnTo>
                    <a:pt x="495300" y="623888"/>
                  </a:lnTo>
                  <a:cubicBezTo>
                    <a:pt x="495300" y="604838"/>
                    <a:pt x="481013" y="588645"/>
                    <a:pt x="461963" y="58674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BD7DEAB1-8369-4B70-A9AB-BCCA3B861094}"/>
                </a:ext>
              </a:extLst>
            </p:cNvPr>
            <p:cNvSpPr/>
            <p:nvPr/>
          </p:nvSpPr>
          <p:spPr>
            <a:xfrm>
              <a:off x="1181098" y="6078431"/>
              <a:ext cx="228600" cy="228600"/>
            </a:xfrm>
            <a:custGeom>
              <a:avLst/>
              <a:gdLst>
                <a:gd name="connsiteX0" fmla="*/ 114300 w 228600"/>
                <a:gd name="connsiteY0" fmla="*/ 171450 h 228600"/>
                <a:gd name="connsiteX1" fmla="*/ 57150 w 228600"/>
                <a:gd name="connsiteY1" fmla="*/ 114300 h 228600"/>
                <a:gd name="connsiteX2" fmla="*/ 114300 w 228600"/>
                <a:gd name="connsiteY2" fmla="*/ 57150 h 228600"/>
                <a:gd name="connsiteX3" fmla="*/ 171450 w 228600"/>
                <a:gd name="connsiteY3" fmla="*/ 114300 h 228600"/>
                <a:gd name="connsiteX4" fmla="*/ 114300 w 228600"/>
                <a:gd name="connsiteY4" fmla="*/ 171450 h 228600"/>
                <a:gd name="connsiteX5" fmla="*/ 114300 w 228600"/>
                <a:gd name="connsiteY5" fmla="*/ 0 h 228600"/>
                <a:gd name="connsiteX6" fmla="*/ 0 w 228600"/>
                <a:gd name="connsiteY6" fmla="*/ 114300 h 228600"/>
                <a:gd name="connsiteX7" fmla="*/ 114300 w 228600"/>
                <a:gd name="connsiteY7" fmla="*/ 228600 h 228600"/>
                <a:gd name="connsiteX8" fmla="*/ 228600 w 228600"/>
                <a:gd name="connsiteY8" fmla="*/ 114300 h 228600"/>
                <a:gd name="connsiteX9" fmla="*/ 114300 w 228600"/>
                <a:gd name="connsiteY9" fmla="*/ 0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8600" h="228600">
                  <a:moveTo>
                    <a:pt x="114300" y="171450"/>
                  </a:moveTo>
                  <a:cubicBezTo>
                    <a:pt x="82868" y="171450"/>
                    <a:pt x="57150" y="145733"/>
                    <a:pt x="57150" y="114300"/>
                  </a:cubicBezTo>
                  <a:cubicBezTo>
                    <a:pt x="57150" y="82868"/>
                    <a:pt x="82868" y="57150"/>
                    <a:pt x="114300" y="57150"/>
                  </a:cubicBezTo>
                  <a:cubicBezTo>
                    <a:pt x="145733" y="57150"/>
                    <a:pt x="171450" y="82868"/>
                    <a:pt x="171450" y="114300"/>
                  </a:cubicBezTo>
                  <a:cubicBezTo>
                    <a:pt x="171450" y="145733"/>
                    <a:pt x="145733" y="171450"/>
                    <a:pt x="114300" y="171450"/>
                  </a:cubicBezTo>
                  <a:close/>
                  <a:moveTo>
                    <a:pt x="114300" y="0"/>
                  </a:moveTo>
                  <a:cubicBezTo>
                    <a:pt x="51435" y="0"/>
                    <a:pt x="0" y="51435"/>
                    <a:pt x="0" y="114300"/>
                  </a:cubicBezTo>
                  <a:cubicBezTo>
                    <a:pt x="0" y="177165"/>
                    <a:pt x="51435" y="228600"/>
                    <a:pt x="114300" y="228600"/>
                  </a:cubicBezTo>
                  <a:cubicBezTo>
                    <a:pt x="177165" y="228600"/>
                    <a:pt x="228600" y="177165"/>
                    <a:pt x="228600" y="114300"/>
                  </a:cubicBezTo>
                  <a:cubicBezTo>
                    <a:pt x="228600" y="51435"/>
                    <a:pt x="177165" y="0"/>
                    <a:pt x="114300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848503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7753695D-B6FA-4781-8B90-0542261572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de-DE" sz="4400" dirty="0"/>
              <a:t>Exchange Q &amp; A</a:t>
            </a:r>
          </a:p>
        </p:txBody>
      </p:sp>
      <p:sp>
        <p:nvSpPr>
          <p:cNvPr id="9" name="Untertitel 8">
            <a:extLst>
              <a:ext uri="{FF2B5EF4-FFF2-40B4-BE49-F238E27FC236}">
                <a16:creationId xmlns:a16="http://schemas.microsoft.com/office/drawing/2014/main" id="{7ACD5D95-6785-48AB-A08F-F511798021F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20448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7753695D-B6FA-4781-8B90-0542261572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Exchange User Group</a:t>
            </a:r>
          </a:p>
        </p:txBody>
      </p:sp>
      <p:sp>
        <p:nvSpPr>
          <p:cNvPr id="9" name="Untertitel 8">
            <a:extLst>
              <a:ext uri="{FF2B5EF4-FFF2-40B4-BE49-F238E27FC236}">
                <a16:creationId xmlns:a16="http://schemas.microsoft.com/office/drawing/2014/main" id="{7ACD5D95-6785-48AB-A08F-F511798021F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00322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8D7DC9-3E02-4219-843F-488595267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Exchange User Group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6EC1D6E-0321-4DAA-889D-F932DA5F2E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2400" b="1" dirty="0"/>
              <a:t>Exchange User Group Team</a:t>
            </a:r>
          </a:p>
          <a:p>
            <a:pPr lvl="1"/>
            <a:r>
              <a:rPr lang="de-DE" sz="2000" dirty="0"/>
              <a:t>Registrierung </a:t>
            </a:r>
            <a:r>
              <a:rPr lang="de-DE" sz="2000" dirty="0">
                <a:sym typeface="Wingdings" panose="05000000000000000000" pitchFamily="2" charset="2"/>
              </a:rPr>
              <a:t> Link auf Homepage</a:t>
            </a:r>
            <a:endParaRPr lang="de-DE" sz="2000" dirty="0"/>
          </a:p>
          <a:p>
            <a:endParaRPr lang="de-DE" sz="2400" dirty="0"/>
          </a:p>
          <a:p>
            <a:r>
              <a:rPr lang="de-DE" sz="2400" b="1" dirty="0"/>
              <a:t>Themenvorschläge</a:t>
            </a:r>
          </a:p>
          <a:p>
            <a:pPr lvl="1"/>
            <a:r>
              <a:rPr lang="de-DE" sz="2000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o.granikos.eu/EXUSG-Themen</a:t>
            </a:r>
            <a:r>
              <a:rPr lang="de-DE" sz="2000" dirty="0"/>
              <a:t> </a:t>
            </a:r>
          </a:p>
          <a:p>
            <a:endParaRPr lang="de-DE" sz="2400" dirty="0"/>
          </a:p>
          <a:p>
            <a:r>
              <a:rPr lang="de-DE" sz="2400" b="1" dirty="0"/>
              <a:t>Community Sticker</a:t>
            </a:r>
          </a:p>
          <a:p>
            <a:pPr lvl="1"/>
            <a:r>
              <a:rPr lang="de-DE" sz="2000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o.granikos.eu/CommunitySticker</a:t>
            </a:r>
            <a:r>
              <a:rPr lang="de-DE" sz="2000" dirty="0">
                <a:solidFill>
                  <a:srgbClr val="37A5DD"/>
                </a:solidFill>
              </a:rPr>
              <a:t> </a:t>
            </a:r>
          </a:p>
          <a:p>
            <a:pPr lvl="1"/>
            <a:endParaRPr lang="de-DE" sz="2000" dirty="0">
              <a:solidFill>
                <a:srgbClr val="37A5DD"/>
              </a:solidFill>
            </a:endParaRPr>
          </a:p>
          <a:p>
            <a:r>
              <a:rPr lang="de-DE" sz="2400" b="1" dirty="0"/>
              <a:t>EXUSG </a:t>
            </a:r>
            <a:r>
              <a:rPr lang="de-DE" sz="2400" b="1" dirty="0" err="1"/>
              <a:t>Mugs</a:t>
            </a:r>
            <a:endParaRPr lang="de-DE" sz="2400" b="1" dirty="0"/>
          </a:p>
          <a:p>
            <a:pPr lvl="1"/>
            <a:r>
              <a:rPr lang="de-DE" sz="2000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o.granikos.eu/EXUSGMug</a:t>
            </a:r>
            <a:br>
              <a:rPr lang="de-DE" dirty="0"/>
            </a:br>
            <a:endParaRPr lang="de-DE" dirty="0"/>
          </a:p>
          <a:p>
            <a:endParaRPr lang="de-DE" dirty="0">
              <a:solidFill>
                <a:srgbClr val="37A5DD"/>
              </a:solidFill>
            </a:endParaRPr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1AA0296-D8CB-4E1E-9730-1AA39B9774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Organisatorisches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2055710-07B5-43BA-BD6F-98374637E64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613443">
            <a:off x="7794836" y="853345"/>
            <a:ext cx="2869349" cy="2147889"/>
          </a:xfrm>
          <a:prstGeom prst="rect">
            <a:avLst/>
          </a:prstGeom>
        </p:spPr>
      </p:pic>
      <p:pic>
        <p:nvPicPr>
          <p:cNvPr id="8" name="Grafik 7" descr="Ein Bild, das Text, Buch enthält.&#10;&#10;Automatisch generierte Beschreibung">
            <a:extLst>
              <a:ext uri="{FF2B5EF4-FFF2-40B4-BE49-F238E27FC236}">
                <a16:creationId xmlns:a16="http://schemas.microsoft.com/office/drawing/2014/main" id="{3D1AF180-A10D-4344-A819-DDCDAEA103A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719837">
            <a:off x="9836595" y="2286751"/>
            <a:ext cx="2221416" cy="2221416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28B5C00-703A-466F-BCBE-63798F01D3D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25370">
            <a:off x="6386890" y="4190311"/>
            <a:ext cx="4138789" cy="275919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572723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000"/>
                            </p:stCondLst>
                            <p:childTnLst>
                              <p:par>
                                <p:cTn id="28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000"/>
                            </p:stCondLst>
                            <p:childTnLst>
                              <p:par>
                                <p:cTn id="4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9854A8-3F65-416E-BB4A-7828E99102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Exchange User Group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52D7D7E-BA81-48A9-8091-7743702661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0" indent="0">
              <a:buNone/>
            </a:pP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endParaRPr lang="de-DE" dirty="0">
              <a:sym typeface="Wingdings" panose="05000000000000000000" pitchFamily="2" charset="2"/>
            </a:endParaRPr>
          </a:p>
          <a:p>
            <a:pPr marL="0" indent="0">
              <a:buNone/>
            </a:pPr>
            <a:endParaRPr lang="de-DE" dirty="0">
              <a:sym typeface="Wingdings" panose="05000000000000000000" pitchFamily="2" charset="2"/>
            </a:endParaRPr>
          </a:p>
          <a:p>
            <a:pPr marL="0" indent="0">
              <a:buNone/>
            </a:pPr>
            <a:r>
              <a:rPr lang="de-DE" sz="2200" dirty="0">
                <a:sym typeface="Wingdings" panose="05000000000000000000" pitchFamily="2" charset="2"/>
              </a:rPr>
              <a:t>Nächster Termin </a:t>
            </a:r>
            <a:r>
              <a:rPr lang="de-DE" b="1" dirty="0">
                <a:sym typeface="Wingdings" panose="05000000000000000000" pitchFamily="2" charset="2"/>
              </a:rPr>
              <a:t>24. November 2022</a:t>
            </a:r>
          </a:p>
          <a:p>
            <a:pPr marL="0" indent="0">
              <a:buNone/>
            </a:pPr>
            <a:br>
              <a:rPr lang="de-DE" sz="2200" dirty="0">
                <a:sym typeface="Wingdings" panose="05000000000000000000" pitchFamily="2" charset="2"/>
              </a:rPr>
            </a:br>
            <a:r>
              <a:rPr lang="de-DE" sz="2200" dirty="0">
                <a:sym typeface="Wingdings" panose="05000000000000000000" pitchFamily="2" charset="2"/>
              </a:rPr>
              <a:t>Homepag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b="1" dirty="0">
                <a:sym typeface="Wingdings" panose="05000000000000000000" pitchFamily="2" charset="2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xusg.de</a:t>
            </a:r>
            <a:r>
              <a:rPr lang="de-DE" b="1" dirty="0">
                <a:sym typeface="Wingdings" panose="05000000000000000000" pitchFamily="2" charset="2"/>
              </a:rPr>
              <a:t> </a:t>
            </a:r>
          </a:p>
          <a:p>
            <a:pPr marL="0" indent="0">
              <a:buNone/>
            </a:pPr>
            <a:r>
              <a:rPr lang="de-DE" sz="2200" dirty="0">
                <a:sym typeface="Wingdings" panose="05000000000000000000" pitchFamily="2" charset="2"/>
              </a:rPr>
              <a:t>Twitter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b="1" dirty="0">
                <a:sym typeface="Wingdings" panose="05000000000000000000" pitchFamily="2" charset="2"/>
              </a:rPr>
              <a:t>@exusg</a:t>
            </a:r>
          </a:p>
          <a:p>
            <a:pPr marL="0" indent="0">
              <a:buNone/>
            </a:pPr>
            <a:r>
              <a:rPr lang="de-DE" sz="2200" dirty="0">
                <a:sym typeface="Wingdings" panose="05000000000000000000" pitchFamily="2" charset="2"/>
              </a:rPr>
              <a:t>Recordings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b="1" dirty="0">
                <a:sym typeface="Wingdings" panose="05000000000000000000" pitchFamily="2" charset="2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o.granikos.eu/EXUSG-Recs</a:t>
            </a:r>
            <a:r>
              <a:rPr lang="de-DE" b="1" dirty="0">
                <a:sym typeface="Wingdings" panose="05000000000000000000" pitchFamily="2" charset="2"/>
              </a:rPr>
              <a:t> 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2FC36A-51A0-467C-9CAE-A10F77DA0B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Organisatorisches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9FAA32B2-BA7D-48E4-9293-9C6D72FBB96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10466" y="1374385"/>
            <a:ext cx="8771068" cy="2507977"/>
          </a:xfrm>
          <a:prstGeom prst="rect">
            <a:avLst/>
          </a:prstGeom>
        </p:spPr>
      </p:pic>
      <p:sp>
        <p:nvSpPr>
          <p:cNvPr id="5" name="Rechteck: diagonal liegende Ecken abgeschnitten 4">
            <a:extLst>
              <a:ext uri="{FF2B5EF4-FFF2-40B4-BE49-F238E27FC236}">
                <a16:creationId xmlns:a16="http://schemas.microsoft.com/office/drawing/2014/main" id="{BFEE3B27-B07E-47D0-99D7-9C8BAD060EC2}"/>
              </a:ext>
            </a:extLst>
          </p:cNvPr>
          <p:cNvSpPr/>
          <p:nvPr/>
        </p:nvSpPr>
        <p:spPr>
          <a:xfrm rot="672300">
            <a:off x="8238760" y="4324701"/>
            <a:ext cx="3813242" cy="1814977"/>
          </a:xfrm>
          <a:prstGeom prst="snip2Diag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4000" dirty="0"/>
              <a:t>Räumlichkeiten gesucht!</a:t>
            </a:r>
          </a:p>
          <a:p>
            <a:pPr algn="ctr"/>
            <a:endParaRPr lang="de-DE" sz="4000" dirty="0"/>
          </a:p>
        </p:txBody>
      </p:sp>
    </p:spTree>
    <p:extLst>
      <p:ext uri="{BB962C8B-B14F-4D97-AF65-F5344CB8AC3E}">
        <p14:creationId xmlns:p14="http://schemas.microsoft.com/office/powerpoint/2010/main" val="2726485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6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1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1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510"/>
                            </p:stCondLst>
                            <p:childTnLst>
                              <p:par>
                                <p:cTn id="23" presetID="42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7753695D-B6FA-4781-8B90-0542261572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de-DE" sz="4400" dirty="0"/>
              <a:t>Die Geheimnisse der </a:t>
            </a:r>
            <a:br>
              <a:rPr lang="de-DE" sz="4400" dirty="0"/>
            </a:br>
            <a:r>
              <a:rPr lang="de-DE" sz="4400" dirty="0"/>
              <a:t>Exchange Online Postfach-Provisionierung</a:t>
            </a:r>
            <a:br>
              <a:rPr lang="de-DE" sz="4400" dirty="0"/>
            </a:br>
            <a:endParaRPr lang="de-DE" sz="4400" dirty="0"/>
          </a:p>
        </p:txBody>
      </p:sp>
      <p:sp>
        <p:nvSpPr>
          <p:cNvPr id="9" name="Untertitel 8">
            <a:extLst>
              <a:ext uri="{FF2B5EF4-FFF2-40B4-BE49-F238E27FC236}">
                <a16:creationId xmlns:a16="http://schemas.microsoft.com/office/drawing/2014/main" id="{7ACD5D95-6785-48AB-A08F-F511798021F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Thomas Stensitzki</a:t>
            </a:r>
          </a:p>
        </p:txBody>
      </p:sp>
    </p:spTree>
    <p:extLst>
      <p:ext uri="{BB962C8B-B14F-4D97-AF65-F5344CB8AC3E}">
        <p14:creationId xmlns:p14="http://schemas.microsoft.com/office/powerpoint/2010/main" val="512821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6D4A3FA-2161-3607-6939-55D994306D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 paar Begriffe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BCC6013-0369-92AA-2C7A-78E326E928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EXO – Exchange Online Service </a:t>
            </a:r>
          </a:p>
          <a:p>
            <a:r>
              <a:rPr lang="de-DE" dirty="0"/>
              <a:t>EXODS – Exchange Online Directory Service</a:t>
            </a:r>
          </a:p>
          <a:p>
            <a:r>
              <a:rPr lang="de-DE" dirty="0"/>
              <a:t>MSODS – MS Online Directory Service aka Azure AD</a:t>
            </a:r>
          </a:p>
          <a:p>
            <a:r>
              <a:rPr lang="de-DE" dirty="0" err="1"/>
              <a:t>Shard</a:t>
            </a:r>
            <a:r>
              <a:rPr lang="de-DE" dirty="0"/>
              <a:t> Mailbox</a:t>
            </a:r>
          </a:p>
          <a:p>
            <a:pPr lvl="1"/>
            <a:r>
              <a:rPr lang="de-DE" dirty="0"/>
              <a:t>EXO Schattenpostfach für On-Premises Postfächer</a:t>
            </a:r>
          </a:p>
          <a:p>
            <a:r>
              <a:rPr lang="de-DE" dirty="0"/>
              <a:t>Substrate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br>
              <a:rPr lang="de-DE" dirty="0"/>
            </a:br>
            <a:r>
              <a:rPr lang="de-DE" dirty="0"/>
              <a:t>Dank an Cristian Dimofte</a:t>
            </a:r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BB91677-AF81-D324-F843-FA7F163D939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108721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25032C9-DE06-DF3B-3E58-F7E279F1BD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ostfach-Deaktivier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F98DDA7-75B3-3FB8-684B-022375BDEE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b="1" dirty="0" err="1"/>
              <a:t>Disable</a:t>
            </a:r>
            <a:r>
              <a:rPr lang="de-DE" b="1" dirty="0"/>
              <a:t>-Mailbox</a:t>
            </a:r>
          </a:p>
          <a:p>
            <a:pPr lvl="1"/>
            <a:r>
              <a:rPr lang="de-DE" dirty="0"/>
              <a:t>MSODS – Entfernung der Exchange Online Lizenz vom Benutzerobjekt</a:t>
            </a:r>
          </a:p>
          <a:p>
            <a:pPr lvl="1"/>
            <a:r>
              <a:rPr lang="de-DE" dirty="0"/>
              <a:t>EXO – Ausführung von </a:t>
            </a:r>
            <a:r>
              <a:rPr lang="de-DE" dirty="0" err="1"/>
              <a:t>Disable</a:t>
            </a:r>
            <a:r>
              <a:rPr lang="de-DE" dirty="0"/>
              <a:t>-Mailbox </a:t>
            </a:r>
          </a:p>
          <a:p>
            <a:pPr lvl="2"/>
            <a:r>
              <a:rPr lang="de-DE" dirty="0"/>
              <a:t>Ein Benutzerobjekt mit Lizenz (</a:t>
            </a:r>
            <a:r>
              <a:rPr lang="de-DE" i="1" dirty="0" err="1"/>
              <a:t>UserMailbox</a:t>
            </a:r>
            <a:r>
              <a:rPr lang="de-DE" dirty="0"/>
              <a:t>) per MSODS deaktivieren</a:t>
            </a:r>
          </a:p>
          <a:p>
            <a:pPr lvl="2"/>
            <a:r>
              <a:rPr lang="de-DE" dirty="0"/>
              <a:t>Ein Benutzerobjekt ohne Lizenz (</a:t>
            </a:r>
            <a:r>
              <a:rPr lang="de-DE" i="1" dirty="0" err="1"/>
              <a:t>SharedMailbox</a:t>
            </a:r>
            <a:r>
              <a:rPr lang="de-DE" dirty="0"/>
              <a:t>, </a:t>
            </a:r>
            <a:r>
              <a:rPr lang="de-DE" i="1" dirty="0" err="1"/>
              <a:t>RoomMailbox</a:t>
            </a:r>
            <a:r>
              <a:rPr lang="de-DE" dirty="0"/>
              <a:t>, </a:t>
            </a:r>
            <a:r>
              <a:rPr lang="de-DE" i="1" dirty="0" err="1"/>
              <a:t>EquipmentMailbox</a:t>
            </a:r>
            <a:r>
              <a:rPr lang="de-DE" dirty="0"/>
              <a:t>) immer per EXO deaktivieren</a:t>
            </a:r>
          </a:p>
          <a:p>
            <a:endParaRPr lang="de-DE" b="1" dirty="0"/>
          </a:p>
          <a:p>
            <a:r>
              <a:rPr lang="de-DE" b="1" dirty="0"/>
              <a:t>Exchange Hybrid</a:t>
            </a:r>
          </a:p>
          <a:p>
            <a:pPr lvl="1"/>
            <a:r>
              <a:rPr lang="de-DE" dirty="0"/>
              <a:t>EXO-Postfachdeaktivierung erfolgt immer On-Premises</a:t>
            </a:r>
          </a:p>
          <a:p>
            <a:pPr lvl="1"/>
            <a:r>
              <a:rPr lang="de-DE" dirty="0"/>
              <a:t>Übertragung der Deaktivierung durch Azure AD Connect</a:t>
            </a:r>
          </a:p>
          <a:p>
            <a:pPr lvl="1"/>
            <a:r>
              <a:rPr lang="de-DE" dirty="0"/>
              <a:t>EXO Lizenz muss vom MSODS-Objekt entfernt werd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C259EB8-2A34-CE5F-72C3-3B0298E90F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766857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 bldLvl="2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25032C9-DE06-DF3B-3E58-F7E279F1BD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ostfach-Lösch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F98DDA7-75B3-3FB8-684B-022375BDEE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b="1" dirty="0"/>
              <a:t>Remove-Mailbox</a:t>
            </a:r>
          </a:p>
          <a:p>
            <a:pPr lvl="1"/>
            <a:r>
              <a:rPr lang="de-DE" dirty="0"/>
              <a:t>MSODS – Löschung des Benutzerobjektes</a:t>
            </a:r>
          </a:p>
          <a:p>
            <a:pPr lvl="1"/>
            <a:r>
              <a:rPr lang="de-DE" dirty="0"/>
              <a:t>EXO – Ausführung von Remove-Mailbox </a:t>
            </a:r>
          </a:p>
          <a:p>
            <a:endParaRPr lang="de-DE" b="1" dirty="0"/>
          </a:p>
          <a:p>
            <a:r>
              <a:rPr lang="de-DE" b="1" dirty="0"/>
              <a:t>Exchange Hybrid</a:t>
            </a:r>
          </a:p>
          <a:p>
            <a:pPr lvl="1"/>
            <a:r>
              <a:rPr lang="de-DE" dirty="0"/>
              <a:t>EXO-Postfachlöschung erfolgt immer On-Premises</a:t>
            </a:r>
          </a:p>
          <a:p>
            <a:pPr lvl="1"/>
            <a:r>
              <a:rPr lang="de-DE" dirty="0"/>
              <a:t>Übertragung der Löschung durch Azure AD Connect</a:t>
            </a:r>
          </a:p>
          <a:p>
            <a:pPr lvl="1"/>
            <a:r>
              <a:rPr lang="de-DE" dirty="0"/>
              <a:t>EXO Lizenz muss vom MSODS-Objekt entfernt werd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C259EB8-2A34-CE5F-72C3-3B0298E90F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03F00321-B26B-1692-029D-C7F4D36BD900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104878" y="3429000"/>
            <a:ext cx="254000" cy="254000"/>
            <a:chOff x="6096000" y="3429000"/>
            <a:chExt cx="254000" cy="254000"/>
          </a:xfrm>
        </p:grpSpPr>
        <p:sp>
          <p:nvSpPr>
            <p:cNvPr id="5" name="background">
              <a:extLst>
                <a:ext uri="{FF2B5EF4-FFF2-40B4-BE49-F238E27FC236}">
                  <a16:creationId xmlns:a16="http://schemas.microsoft.com/office/drawing/2014/main" id="{811A6F96-260A-208C-7424-2C4F07617F69}"/>
                </a:ext>
              </a:extLst>
            </p:cNvPr>
            <p:cNvSpPr/>
            <p:nvPr/>
          </p:nvSpPr>
          <p:spPr>
            <a:xfrm>
              <a:off x="6096000" y="3429000"/>
              <a:ext cx="254000" cy="254000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6" name="arc">
              <a:extLst>
                <a:ext uri="{FF2B5EF4-FFF2-40B4-BE49-F238E27FC236}">
                  <a16:creationId xmlns:a16="http://schemas.microsoft.com/office/drawing/2014/main" id="{746F480D-DB43-89F7-30AB-E6FE26106E05}"/>
                </a:ext>
              </a:extLst>
            </p:cNvPr>
            <p:cNvSpPr/>
            <p:nvPr/>
          </p:nvSpPr>
          <p:spPr>
            <a:xfrm>
              <a:off x="6096000" y="3429000"/>
              <a:ext cx="254000" cy="254000"/>
            </a:xfrm>
            <a:prstGeom prst="arc">
              <a:avLst/>
            </a:prstGeom>
            <a:solidFill>
              <a:schemeClr val="accent1"/>
            </a:solidFill>
            <a:ln w="63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6350" cap="flat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7" name="circle">
              <a:extLst>
                <a:ext uri="{FF2B5EF4-FFF2-40B4-BE49-F238E27FC236}">
                  <a16:creationId xmlns:a16="http://schemas.microsoft.com/office/drawing/2014/main" id="{DD06D63A-611B-4CE4-6CEA-40528643BCAC}"/>
                </a:ext>
              </a:extLst>
            </p:cNvPr>
            <p:cNvSpPr/>
            <p:nvPr/>
          </p:nvSpPr>
          <p:spPr>
            <a:xfrm>
              <a:off x="6096000" y="3429000"/>
              <a:ext cx="254000" cy="254000"/>
            </a:xfrm>
            <a:prstGeom prst="ellipse">
              <a:avLst/>
            </a:prstGeom>
            <a:noFill/>
            <a:ln w="9525">
              <a:solidFill>
                <a:schemeClr val="accent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42496254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25032C9-DE06-DF3B-3E58-F7E279F1BD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ostfach-Deaktivierung / -Lösch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F98DDA7-75B3-3FB8-684B-022375BDEE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Litigation Hold</a:t>
            </a:r>
          </a:p>
          <a:p>
            <a:pPr lvl="1"/>
            <a:r>
              <a:rPr lang="de-DE" dirty="0"/>
              <a:t>Auf gesamtes Postfach per Exchange Online</a:t>
            </a:r>
          </a:p>
          <a:p>
            <a:r>
              <a:rPr lang="de-DE" dirty="0"/>
              <a:t>In-Place Hold</a:t>
            </a:r>
          </a:p>
          <a:p>
            <a:pPr lvl="1"/>
            <a:r>
              <a:rPr lang="de-DE" dirty="0"/>
              <a:t>Exchange In-Place eDiscovery &amp; Hold (bis H2 2020)</a:t>
            </a:r>
          </a:p>
          <a:p>
            <a:r>
              <a:rPr lang="de-DE" dirty="0"/>
              <a:t>eDiscovery Hold</a:t>
            </a:r>
          </a:p>
          <a:p>
            <a:pPr lvl="1"/>
            <a:r>
              <a:rPr lang="de-DE" dirty="0"/>
              <a:t>Regelbasierte Aufbewahrung per </a:t>
            </a:r>
            <a:r>
              <a:rPr lang="de-DE" dirty="0" err="1"/>
              <a:t>Purview</a:t>
            </a:r>
            <a:r>
              <a:rPr lang="de-DE" dirty="0"/>
              <a:t> eDiscovery</a:t>
            </a:r>
          </a:p>
          <a:p>
            <a:r>
              <a:rPr lang="de-DE" dirty="0"/>
              <a:t>Microsoft 365 Aufbewahrungsrichtlinien</a:t>
            </a:r>
          </a:p>
          <a:p>
            <a:pPr lvl="1"/>
            <a:r>
              <a:rPr lang="de-DE" dirty="0"/>
              <a:t>Ausgewählte Speicherorte</a:t>
            </a:r>
          </a:p>
          <a:p>
            <a:pPr lvl="1"/>
            <a:r>
              <a:rPr lang="de-DE" dirty="0"/>
              <a:t>Organisationsweite Aufbewahrungsrichtlinie</a:t>
            </a:r>
          </a:p>
          <a:p>
            <a:r>
              <a:rPr lang="de-DE" dirty="0"/>
              <a:t>Microsoft 365 Aufbewahrungskennzeichnungen (Label)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C259EB8-2A34-CE5F-72C3-3B0298E90F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Postfächer mit Beweissicherungsverfahren (Hold)</a:t>
            </a:r>
          </a:p>
        </p:txBody>
      </p:sp>
    </p:spTree>
    <p:extLst>
      <p:ext uri="{BB962C8B-B14F-4D97-AF65-F5344CB8AC3E}">
        <p14:creationId xmlns:p14="http://schemas.microsoft.com/office/powerpoint/2010/main" val="38031989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25032C9-DE06-DF3B-3E58-F7E279F1BD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ostfach-Deaktivierung / -Lösch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F98DDA7-75B3-3FB8-684B-022375BDEE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/>
              <a:t>ComplianceTagHoldApplied</a:t>
            </a:r>
            <a:r>
              <a:rPr lang="de-DE" dirty="0"/>
              <a:t> = True</a:t>
            </a:r>
          </a:p>
          <a:p>
            <a:r>
              <a:rPr lang="de-DE" dirty="0"/>
              <a:t>Löschung des Benutzerobjektes </a:t>
            </a:r>
            <a:r>
              <a:rPr lang="de-DE" dirty="0">
                <a:sym typeface="Wingdings" panose="05000000000000000000" pitchFamily="2" charset="2"/>
              </a:rPr>
              <a:t> Inaktives Postfach</a:t>
            </a:r>
          </a:p>
          <a:p>
            <a:r>
              <a:rPr lang="de-DE" dirty="0">
                <a:sym typeface="Wingdings" panose="05000000000000000000" pitchFamily="2" charset="2"/>
              </a:rPr>
              <a:t>Postfachdeaktivierung nicht möglich</a:t>
            </a:r>
          </a:p>
          <a:p>
            <a:r>
              <a:rPr lang="de-DE" dirty="0">
                <a:sym typeface="Wingdings" panose="05000000000000000000" pitchFamily="2" charset="2"/>
              </a:rPr>
              <a:t>Die längste zutreffende Aufbewahrung gewinnt vor einer Löschung von Inhalten</a:t>
            </a:r>
          </a:p>
          <a:p>
            <a:r>
              <a:rPr lang="de-DE" dirty="0">
                <a:sym typeface="Wingdings" panose="05000000000000000000" pitchFamily="2" charset="2"/>
              </a:rPr>
              <a:t>Gilt für das primäre und das Online Archivpostfach</a:t>
            </a:r>
          </a:p>
          <a:p>
            <a:endParaRPr lang="de-DE" dirty="0">
              <a:sym typeface="Wingdings" panose="05000000000000000000" pitchFamily="2" charset="2"/>
            </a:endParaRPr>
          </a:p>
          <a:p>
            <a:pPr marL="0" indent="0">
              <a:buNone/>
            </a:pPr>
            <a:r>
              <a:rPr lang="de-DE" sz="1600" dirty="0">
                <a:sym typeface="Wingdings" panose="05000000000000000000" pitchFamily="2" charset="2"/>
                <a:hlinkClick r:id="rId2"/>
              </a:rPr>
              <a:t>Weitere Informationen</a:t>
            </a:r>
            <a:r>
              <a:rPr lang="de-DE" sz="1600" dirty="0">
                <a:sym typeface="Wingdings" panose="05000000000000000000" pitchFamily="2" charset="2"/>
              </a:rPr>
              <a:t> </a:t>
            </a:r>
            <a:endParaRPr lang="de-DE" sz="160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C259EB8-2A34-CE5F-72C3-3B0298E90F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Postfächer mit Beweissicherungsverfahren (Hold)</a:t>
            </a:r>
          </a:p>
        </p:txBody>
      </p:sp>
    </p:spTree>
    <p:extLst>
      <p:ext uri="{BB962C8B-B14F-4D97-AF65-F5344CB8AC3E}">
        <p14:creationId xmlns:p14="http://schemas.microsoft.com/office/powerpoint/2010/main" val="26845669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LANGUAGE_ID" val="103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-Style"/>
  <p:tag name="EE4P_SMART_ELEMENT" val="HarveyBall"/>
  <p:tag name="EE4P_SMART_ELEMENT_XML" val="&lt;smartelement id=&quot;HarveyBall&quot; custom=&quot;1&quot;&gt;&lt;position width=&quot;20&quot; height=&quot;20&quot; alignment=&quot;1&quot; /&gt;&lt;elements&gt;&lt;element name=&quot;background&quot;&gt;&lt;fill visible=&quot;1&quot; foreColor=&quot;#ffffff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1&quot; foreColor=&quot;&quot; weight=&quot;0.75&quot; /&gt;&lt;reflection visible=&quot;0&quot; /&gt;&lt;shadow visible=&quot;0&quot; /&gt;&lt;/element&gt;&lt;/elements&gt;&lt;colors&gt;&lt;color theme=&quot;5&quot; name=&quot;Accent 1&quot; default=&quot;1&quot; /&gt;&lt;color theme=&quot;6&quot; name=&quot;Accent 2&quot; /&gt;&lt;color theme=&quot;7&quot; name=&quot;Accent 3&quot; /&gt;&lt;color theme=&quot;8&quot; name=&quot;Accent 4&quot; /&gt;&lt;color theme=&quot;9&quot; name=&quot;Accent 5&quot; /&gt;&lt;color theme=&quot;10&quot; name=&quot;Accent 6&quot; /&gt;&lt;color rgb=&quot;#000000&quot; name=&quot;Black&quot; /&gt;&lt;color rgb=&quot;#ffffff&quot; name=&quot;White&quot; /&gt;&lt;/colors&gt;&lt;/smartelement&gt;"/>
</p:tagLst>
</file>

<file path=ppt/theme/theme1.xml><?xml version="1.0" encoding="utf-8"?>
<a:theme xmlns:a="http://schemas.openxmlformats.org/drawingml/2006/main" name="Office">
  <a:themeElements>
    <a:clrScheme name="Benutzerdefiniert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BFBFBF"/>
      </a:hlink>
      <a:folHlink>
        <a:srgbClr val="A5A5A5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XUSG_Master.potx" id="{0D35B7B0-3618-4AFC-B3CB-8A78A225AA27}" vid="{41C24F7B-92B3-47FA-B6C1-09179644D14B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205</Words>
  <Application>Microsoft Office PowerPoint</Application>
  <PresentationFormat>Breitbild</PresentationFormat>
  <Paragraphs>242</Paragraphs>
  <Slides>33</Slides>
  <Notes>1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33</vt:i4>
      </vt:variant>
    </vt:vector>
  </HeadingPairs>
  <TitlesOfParts>
    <vt:vector size="39" baseType="lpstr">
      <vt:lpstr>Arial</vt:lpstr>
      <vt:lpstr>Calibri</vt:lpstr>
      <vt:lpstr>Courier New</vt:lpstr>
      <vt:lpstr>Segoe UI</vt:lpstr>
      <vt:lpstr>Wingdings</vt:lpstr>
      <vt:lpstr>Office</vt:lpstr>
      <vt:lpstr>Exchange User Group Meetup Q3 2022 {Hybrid Edition}</vt:lpstr>
      <vt:lpstr>Sponsor</vt:lpstr>
      <vt:lpstr>Meetup Q2 2022</vt:lpstr>
      <vt:lpstr>Die Geheimnisse der  Exchange Online Postfach-Provisionierung </vt:lpstr>
      <vt:lpstr>Ein paar Begriffe </vt:lpstr>
      <vt:lpstr>Postfach-Deaktivierung</vt:lpstr>
      <vt:lpstr>Postfach-Löschung</vt:lpstr>
      <vt:lpstr>Postfach-Deaktivierung / -Löschung</vt:lpstr>
      <vt:lpstr>Postfach-Deaktivierung / -Löschung</vt:lpstr>
      <vt:lpstr>Postfach-Deaktivierung</vt:lpstr>
      <vt:lpstr>Postfach-Deaktivierung</vt:lpstr>
      <vt:lpstr>Postfach-Löschung</vt:lpstr>
      <vt:lpstr>Postfach-Deaktivierung</vt:lpstr>
      <vt:lpstr>Postfach-Löschung</vt:lpstr>
      <vt:lpstr>Postfach Verbinden</vt:lpstr>
      <vt:lpstr>Postfach Verbinden</vt:lpstr>
      <vt:lpstr>Postfach Verbinden</vt:lpstr>
      <vt:lpstr>Postfach Erstellen</vt:lpstr>
      <vt:lpstr>Postfach Verbinden / Erstellen</vt:lpstr>
      <vt:lpstr>PowerPoint-Präsentation</vt:lpstr>
      <vt:lpstr>Ressourcen</vt:lpstr>
      <vt:lpstr>MEC Technical Airlift  und mehr zu Exchange Server </vt:lpstr>
      <vt:lpstr>MEC 2022</vt:lpstr>
      <vt:lpstr>Ignite 2022</vt:lpstr>
      <vt:lpstr>Exchange Server Security Update</vt:lpstr>
      <vt:lpstr>Exchange Server Security Update</vt:lpstr>
      <vt:lpstr>Exchange Server Security Update</vt:lpstr>
      <vt:lpstr>PowerPoint-Präsentation</vt:lpstr>
      <vt:lpstr>Ressourcen</vt:lpstr>
      <vt:lpstr>Exchange Q &amp; A</vt:lpstr>
      <vt:lpstr>Exchange User Group</vt:lpstr>
      <vt:lpstr>Exchange User Group</vt:lpstr>
      <vt:lpstr>Exchange User Group</vt:lpstr>
    </vt:vector>
  </TitlesOfParts>
  <Manager>Thomas.Stensitzki@Granikos.eu</Manager>
  <Company>Granikos GmbH &amp; Co. KG</Company>
  <LinksUpToDate>false</LinksUpToDate>
  <SharedDoc>false</SharedDoc>
  <HyperlinkBase>https://www.granikos.eu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USG Meetup - Mai 2022</dc:title>
  <dc:subject>Exchange User Group | UG Meetup November 2020</dc:subject>
  <dc:creator>Thomas.Stensitzki@Granikos.eu</dc:creator>
  <cp:keywords>EXUSG</cp:keywords>
  <cp:lastModifiedBy>Thomas Stensitzki</cp:lastModifiedBy>
  <cp:revision>80</cp:revision>
  <dcterms:created xsi:type="dcterms:W3CDTF">2017-02-23T19:31:41Z</dcterms:created>
  <dcterms:modified xsi:type="dcterms:W3CDTF">2022-11-04T10:44:14Z</dcterms:modified>
  <cp:contentStatus>Final</cp:contentStatus>
</cp:coreProperties>
</file>